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0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3" roundtripDataSignature="AMtx7mggHTocux73eUUS8qCNXO43N9vIV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40" autoAdjust="0"/>
    <p:restoredTop sz="94660"/>
  </p:normalViewPr>
  <p:slideViewPr>
    <p:cSldViewPr snapToGrid="0">
      <p:cViewPr>
        <p:scale>
          <a:sx n="100" d="100"/>
          <a:sy n="100" d="100"/>
        </p:scale>
        <p:origin x="72" y="72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customschemas.google.com/relationships/presentationmetadata" Target="metadata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678223\Downloads\8\8.6\1564685166_Desalination_Unit_Data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sz="1400" b="1" i="0" baseline="0" dirty="0" smtClean="0">
                <a:effectLst/>
              </a:rPr>
              <a:t>Regression Equation</a:t>
            </a:r>
            <a:endParaRPr lang="en-US" sz="1400" dirty="0">
              <a:effectLst/>
            </a:endParaRPr>
          </a:p>
        </c:rich>
      </c:tx>
      <c:layout>
        <c:manualLayout>
          <c:xMode val="edge"/>
          <c:yMode val="edge"/>
          <c:x val="0.337668549541278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683708075812406"/>
          <c:y val="5.6900097869772195E-2"/>
          <c:w val="0.86690729622526086"/>
          <c:h val="0.9187457746373292"/>
        </c:manualLayout>
      </c:layout>
      <c:lineChart>
        <c:grouping val="standard"/>
        <c:varyColors val="0"/>
        <c:ser>
          <c:idx val="0"/>
          <c:order val="0"/>
          <c:tx>
            <c:strRef>
              <c:f>'Regression Equation'!$J$1</c:f>
              <c:strCache>
                <c:ptCount val="1"/>
                <c:pt idx="0">
                  <c:v>Regresstion Equatio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'Regression Equation'!$J$2:$J$6997</c:f>
              <c:numCache>
                <c:formatCode>0.000000000</c:formatCode>
                <c:ptCount val="6996"/>
                <c:pt idx="0">
                  <c:v>5.0638641168020519E-2</c:v>
                </c:pt>
                <c:pt idx="1">
                  <c:v>3.7995305663722348E-2</c:v>
                </c:pt>
                <c:pt idx="2">
                  <c:v>5.8974851233458362E-3</c:v>
                </c:pt>
                <c:pt idx="3">
                  <c:v>6.072760283557882E-3</c:v>
                </c:pt>
                <c:pt idx="4">
                  <c:v>6.0167246512920838E-3</c:v>
                </c:pt>
                <c:pt idx="5">
                  <c:v>6.3255044986807035E-3</c:v>
                </c:pt>
                <c:pt idx="6">
                  <c:v>6.4129496852137063E-3</c:v>
                </c:pt>
                <c:pt idx="7">
                  <c:v>6.3694526358360299E-3</c:v>
                </c:pt>
                <c:pt idx="8">
                  <c:v>6.3245560630833643E-3</c:v>
                </c:pt>
                <c:pt idx="9">
                  <c:v>6.2673452380848519E-3</c:v>
                </c:pt>
                <c:pt idx="10">
                  <c:v>6.228956268179188E-3</c:v>
                </c:pt>
                <c:pt idx="11">
                  <c:v>6.2591875604884484E-3</c:v>
                </c:pt>
                <c:pt idx="12">
                  <c:v>6.4445589424392E-3</c:v>
                </c:pt>
                <c:pt idx="13">
                  <c:v>6.4343434699904011E-3</c:v>
                </c:pt>
                <c:pt idx="14">
                  <c:v>6.3778668530416671E-3</c:v>
                </c:pt>
                <c:pt idx="15">
                  <c:v>6.4171209659150677E-3</c:v>
                </c:pt>
                <c:pt idx="16">
                  <c:v>6.7919190582163315E-3</c:v>
                </c:pt>
                <c:pt idx="17">
                  <c:v>6.8869105161015257E-3</c:v>
                </c:pt>
                <c:pt idx="18">
                  <c:v>6.930129776572448E-3</c:v>
                </c:pt>
                <c:pt idx="19">
                  <c:v>6.9630172711592428E-3</c:v>
                </c:pt>
                <c:pt idx="20">
                  <c:v>6.7313774711900403E-3</c:v>
                </c:pt>
                <c:pt idx="21">
                  <c:v>6.6048715424529307E-3</c:v>
                </c:pt>
                <c:pt idx="22">
                  <c:v>6.6268747947136886E-3</c:v>
                </c:pt>
                <c:pt idx="23">
                  <c:v>6.6416739764977089E-3</c:v>
                </c:pt>
                <c:pt idx="24">
                  <c:v>6.5559932412163693E-3</c:v>
                </c:pt>
                <c:pt idx="25">
                  <c:v>6.4142415347829829E-3</c:v>
                </c:pt>
                <c:pt idx="26">
                  <c:v>6.3421612941533681E-3</c:v>
                </c:pt>
                <c:pt idx="27">
                  <c:v>6.3429700531337603E-3</c:v>
                </c:pt>
                <c:pt idx="28">
                  <c:v>6.3715426147868681E-3</c:v>
                </c:pt>
                <c:pt idx="29">
                  <c:v>6.3974024239051288E-3</c:v>
                </c:pt>
                <c:pt idx="30">
                  <c:v>6.4450068551582598E-3</c:v>
                </c:pt>
                <c:pt idx="31">
                  <c:v>6.2120973886117771E-3</c:v>
                </c:pt>
                <c:pt idx="32">
                  <c:v>5.8245887918509705E-3</c:v>
                </c:pt>
                <c:pt idx="33">
                  <c:v>5.4059588953302229E-3</c:v>
                </c:pt>
                <c:pt idx="34">
                  <c:v>4.9919852008512046E-3</c:v>
                </c:pt>
                <c:pt idx="35">
                  <c:v>4.7586398487637072E-3</c:v>
                </c:pt>
                <c:pt idx="36">
                  <c:v>4.7067865766510448E-3</c:v>
                </c:pt>
                <c:pt idx="37">
                  <c:v>4.9453913657984041E-3</c:v>
                </c:pt>
                <c:pt idx="38">
                  <c:v>4.994249279528038E-3</c:v>
                </c:pt>
                <c:pt idx="39">
                  <c:v>4.9721373470616127E-3</c:v>
                </c:pt>
                <c:pt idx="40">
                  <c:v>4.9116700550504242E-3</c:v>
                </c:pt>
                <c:pt idx="41">
                  <c:v>4.9981900037691313E-3</c:v>
                </c:pt>
                <c:pt idx="42">
                  <c:v>4.2146384530201506E-3</c:v>
                </c:pt>
                <c:pt idx="43">
                  <c:v>4.8826862350640383E-3</c:v>
                </c:pt>
                <c:pt idx="44">
                  <c:v>4.9806947696490423E-3</c:v>
                </c:pt>
                <c:pt idx="45">
                  <c:v>4.6974712032513723E-3</c:v>
                </c:pt>
                <c:pt idx="46">
                  <c:v>4.5573390309529716E-3</c:v>
                </c:pt>
                <c:pt idx="47">
                  <c:v>4.715352369860969E-3</c:v>
                </c:pt>
                <c:pt idx="48">
                  <c:v>4.7156371552784558E-3</c:v>
                </c:pt>
                <c:pt idx="49">
                  <c:v>4.7193176887308542E-3</c:v>
                </c:pt>
                <c:pt idx="50">
                  <c:v>4.7190850795116061E-3</c:v>
                </c:pt>
                <c:pt idx="51">
                  <c:v>4.7772854882207044E-3</c:v>
                </c:pt>
                <c:pt idx="52">
                  <c:v>4.8623682330585383E-3</c:v>
                </c:pt>
                <c:pt idx="53">
                  <c:v>4.9843653742141902E-3</c:v>
                </c:pt>
                <c:pt idx="54">
                  <c:v>4.9397334449534447E-3</c:v>
                </c:pt>
                <c:pt idx="55">
                  <c:v>4.8526041737214651E-3</c:v>
                </c:pt>
                <c:pt idx="56">
                  <c:v>4.8710771303534352E-3</c:v>
                </c:pt>
                <c:pt idx="57">
                  <c:v>4.6107188691131354E-3</c:v>
                </c:pt>
                <c:pt idx="58">
                  <c:v>4.6068775200908234E-3</c:v>
                </c:pt>
                <c:pt idx="59">
                  <c:v>4.6518689283813709E-3</c:v>
                </c:pt>
                <c:pt idx="60">
                  <c:v>4.832582639067648E-3</c:v>
                </c:pt>
                <c:pt idx="61">
                  <c:v>4.8358350725454472E-3</c:v>
                </c:pt>
                <c:pt idx="62">
                  <c:v>4.9525801941068719E-3</c:v>
                </c:pt>
                <c:pt idx="63">
                  <c:v>5.1076738644088198E-3</c:v>
                </c:pt>
                <c:pt idx="64">
                  <c:v>5.0785053548767787E-3</c:v>
                </c:pt>
                <c:pt idx="65">
                  <c:v>5.0949282428246175E-3</c:v>
                </c:pt>
                <c:pt idx="66">
                  <c:v>5.0664596028301857E-3</c:v>
                </c:pt>
                <c:pt idx="67">
                  <c:v>4.9264893127302012E-3</c:v>
                </c:pt>
                <c:pt idx="68">
                  <c:v>4.9134223839442537E-3</c:v>
                </c:pt>
                <c:pt idx="69">
                  <c:v>4.9512651585128173E-3</c:v>
                </c:pt>
                <c:pt idx="70">
                  <c:v>4.9928453287803043E-3</c:v>
                </c:pt>
                <c:pt idx="71">
                  <c:v>4.9407152889050787E-3</c:v>
                </c:pt>
                <c:pt idx="72">
                  <c:v>5.0736751271397325E-3</c:v>
                </c:pt>
                <c:pt idx="73">
                  <c:v>4.5274074881108883E-3</c:v>
                </c:pt>
                <c:pt idx="74">
                  <c:v>4.4740836129988576E-3</c:v>
                </c:pt>
                <c:pt idx="75">
                  <c:v>4.42499081008247E-3</c:v>
                </c:pt>
                <c:pt idx="76">
                  <c:v>4.4126607778743809E-3</c:v>
                </c:pt>
                <c:pt idx="77">
                  <c:v>4.2264896864700405E-3</c:v>
                </c:pt>
                <c:pt idx="78">
                  <c:v>4.2115169480742591E-3</c:v>
                </c:pt>
                <c:pt idx="79">
                  <c:v>4.2812315464878991E-3</c:v>
                </c:pt>
                <c:pt idx="80">
                  <c:v>4.2638695632412817E-3</c:v>
                </c:pt>
                <c:pt idx="81">
                  <c:v>4.2541680946563045E-3</c:v>
                </c:pt>
                <c:pt idx="82">
                  <c:v>4.1725884861838975E-3</c:v>
                </c:pt>
                <c:pt idx="83">
                  <c:v>4.1029543036089737E-3</c:v>
                </c:pt>
                <c:pt idx="84">
                  <c:v>3.9731640089128726E-3</c:v>
                </c:pt>
                <c:pt idx="85">
                  <c:v>4.7734184335934387E-3</c:v>
                </c:pt>
                <c:pt idx="86">
                  <c:v>4.7538569301930223E-3</c:v>
                </c:pt>
                <c:pt idx="87">
                  <c:v>4.7597922080356509E-3</c:v>
                </c:pt>
                <c:pt idx="88">
                  <c:v>4.7677620672127909E-3</c:v>
                </c:pt>
                <c:pt idx="89">
                  <c:v>4.9272580328067039E-3</c:v>
                </c:pt>
                <c:pt idx="90">
                  <c:v>4.6928448220328791E-3</c:v>
                </c:pt>
                <c:pt idx="91">
                  <c:v>4.7152338945674107E-3</c:v>
                </c:pt>
                <c:pt idx="92">
                  <c:v>4.6197112884631911E-3</c:v>
                </c:pt>
                <c:pt idx="93">
                  <c:v>4.814735314268302E-3</c:v>
                </c:pt>
                <c:pt idx="94">
                  <c:v>5.0109737872216118E-3</c:v>
                </c:pt>
                <c:pt idx="95">
                  <c:v>4.9572318040962552E-3</c:v>
                </c:pt>
                <c:pt idx="96">
                  <c:v>4.9921250501280701E-3</c:v>
                </c:pt>
                <c:pt idx="97">
                  <c:v>5.0289012604333308E-3</c:v>
                </c:pt>
                <c:pt idx="98">
                  <c:v>5.1567698514804125E-3</c:v>
                </c:pt>
                <c:pt idx="99">
                  <c:v>5.1256955320637442E-3</c:v>
                </c:pt>
                <c:pt idx="100">
                  <c:v>5.2838232476260343E-3</c:v>
                </c:pt>
                <c:pt idx="101">
                  <c:v>5.3489567790184871E-3</c:v>
                </c:pt>
                <c:pt idx="102">
                  <c:v>5.2754568203225013E-3</c:v>
                </c:pt>
                <c:pt idx="103">
                  <c:v>5.1017289391342025E-3</c:v>
                </c:pt>
                <c:pt idx="104">
                  <c:v>5.1303690834618053E-3</c:v>
                </c:pt>
                <c:pt idx="105">
                  <c:v>5.2794976675202138E-3</c:v>
                </c:pt>
                <c:pt idx="106">
                  <c:v>5.298886979925318E-3</c:v>
                </c:pt>
                <c:pt idx="107">
                  <c:v>5.468707639620274E-3</c:v>
                </c:pt>
                <c:pt idx="108">
                  <c:v>5.5595630643319001E-3</c:v>
                </c:pt>
                <c:pt idx="109">
                  <c:v>5.6302149934447567E-3</c:v>
                </c:pt>
                <c:pt idx="110">
                  <c:v>5.640325080437515E-3</c:v>
                </c:pt>
                <c:pt idx="111">
                  <c:v>5.583689536016052E-3</c:v>
                </c:pt>
                <c:pt idx="112">
                  <c:v>5.5797926078766614E-3</c:v>
                </c:pt>
                <c:pt idx="113">
                  <c:v>5.5438922557313692E-3</c:v>
                </c:pt>
                <c:pt idx="114">
                  <c:v>5.5393454326716348E-3</c:v>
                </c:pt>
                <c:pt idx="115">
                  <c:v>4.7995569172193855E-3</c:v>
                </c:pt>
                <c:pt idx="116">
                  <c:v>4.9197424516763382E-3</c:v>
                </c:pt>
                <c:pt idx="117">
                  <c:v>4.9490810676318508E-3</c:v>
                </c:pt>
                <c:pt idx="118">
                  <c:v>4.9279938653521956E-3</c:v>
                </c:pt>
                <c:pt idx="119">
                  <c:v>4.648539698214567E-3</c:v>
                </c:pt>
                <c:pt idx="120">
                  <c:v>4.5900587015874524E-3</c:v>
                </c:pt>
                <c:pt idx="121">
                  <c:v>4.521912178600488E-3</c:v>
                </c:pt>
                <c:pt idx="122">
                  <c:v>4.3007610752706805E-3</c:v>
                </c:pt>
                <c:pt idx="123">
                  <c:v>4.3266985443477781E-3</c:v>
                </c:pt>
                <c:pt idx="124">
                  <c:v>4.2061834792566982E-3</c:v>
                </c:pt>
                <c:pt idx="125">
                  <c:v>4.4267915099027019E-3</c:v>
                </c:pt>
                <c:pt idx="126">
                  <c:v>4.5917428955059682E-3</c:v>
                </c:pt>
                <c:pt idx="127">
                  <c:v>4.6675598741396226E-3</c:v>
                </c:pt>
                <c:pt idx="128">
                  <c:v>4.621307026523718E-3</c:v>
                </c:pt>
                <c:pt idx="129">
                  <c:v>5.0400933763220558E-3</c:v>
                </c:pt>
                <c:pt idx="130">
                  <c:v>5.0462556571661881E-3</c:v>
                </c:pt>
                <c:pt idx="131">
                  <c:v>4.9543619756847838E-3</c:v>
                </c:pt>
                <c:pt idx="132">
                  <c:v>4.8971093048924578E-3</c:v>
                </c:pt>
                <c:pt idx="133">
                  <c:v>4.9371957842176805E-3</c:v>
                </c:pt>
                <c:pt idx="134">
                  <c:v>4.9445233564171624E-3</c:v>
                </c:pt>
                <c:pt idx="135">
                  <c:v>5.4300368982289167E-3</c:v>
                </c:pt>
                <c:pt idx="136">
                  <c:v>5.5749239758010015E-3</c:v>
                </c:pt>
                <c:pt idx="137">
                  <c:v>5.4881847341378071E-3</c:v>
                </c:pt>
                <c:pt idx="138">
                  <c:v>5.4648832151988781E-3</c:v>
                </c:pt>
                <c:pt idx="139">
                  <c:v>5.3276268635858446E-3</c:v>
                </c:pt>
                <c:pt idx="140">
                  <c:v>5.3608792112071002E-3</c:v>
                </c:pt>
                <c:pt idx="141">
                  <c:v>5.4065838766806391E-3</c:v>
                </c:pt>
                <c:pt idx="142">
                  <c:v>5.5043449552262952E-3</c:v>
                </c:pt>
                <c:pt idx="143">
                  <c:v>5.5146969023641941E-3</c:v>
                </c:pt>
                <c:pt idx="144">
                  <c:v>5.69430813147314E-3</c:v>
                </c:pt>
                <c:pt idx="145">
                  <c:v>5.7911020030298578E-3</c:v>
                </c:pt>
                <c:pt idx="146">
                  <c:v>5.9441052726623405E-3</c:v>
                </c:pt>
                <c:pt idx="147">
                  <c:v>5.9068200985047314E-3</c:v>
                </c:pt>
                <c:pt idx="148">
                  <c:v>6.0480513620451487E-3</c:v>
                </c:pt>
                <c:pt idx="149">
                  <c:v>6.0993386095228802E-3</c:v>
                </c:pt>
                <c:pt idx="150">
                  <c:v>6.1693586100330655E-3</c:v>
                </c:pt>
                <c:pt idx="151">
                  <c:v>6.2658225039537892E-3</c:v>
                </c:pt>
                <c:pt idx="152">
                  <c:v>6.3113669446993757E-3</c:v>
                </c:pt>
                <c:pt idx="153">
                  <c:v>6.048589801305561E-3</c:v>
                </c:pt>
                <c:pt idx="154">
                  <c:v>6.0237040525542504E-3</c:v>
                </c:pt>
                <c:pt idx="155">
                  <c:v>5.8861804246571016E-3</c:v>
                </c:pt>
                <c:pt idx="156">
                  <c:v>5.8024271154926196E-3</c:v>
                </c:pt>
                <c:pt idx="157">
                  <c:v>5.734268339635893E-3</c:v>
                </c:pt>
                <c:pt idx="158">
                  <c:v>5.7434408089768671E-3</c:v>
                </c:pt>
                <c:pt idx="159">
                  <c:v>5.581044192241872E-3</c:v>
                </c:pt>
                <c:pt idx="160">
                  <c:v>5.5062760241175179E-3</c:v>
                </c:pt>
                <c:pt idx="161">
                  <c:v>5.6181034506356036E-3</c:v>
                </c:pt>
                <c:pt idx="162">
                  <c:v>5.66181352753636E-3</c:v>
                </c:pt>
                <c:pt idx="163">
                  <c:v>5.6682809441811043E-3</c:v>
                </c:pt>
                <c:pt idx="164">
                  <c:v>5.678197834377046E-3</c:v>
                </c:pt>
                <c:pt idx="165">
                  <c:v>4.8753575646289914E-3</c:v>
                </c:pt>
                <c:pt idx="166">
                  <c:v>5.028813848928883E-3</c:v>
                </c:pt>
                <c:pt idx="167">
                  <c:v>7.1143692543876747E-3</c:v>
                </c:pt>
                <c:pt idx="168">
                  <c:v>7.1740421901332254E-3</c:v>
                </c:pt>
                <c:pt idx="169">
                  <c:v>7.144242710281982E-3</c:v>
                </c:pt>
                <c:pt idx="170">
                  <c:v>7.1699021610632276E-3</c:v>
                </c:pt>
                <c:pt idx="171">
                  <c:v>7.1701139575390685E-3</c:v>
                </c:pt>
                <c:pt idx="172">
                  <c:v>7.1475559626268835E-3</c:v>
                </c:pt>
                <c:pt idx="173">
                  <c:v>7.1892174292664049E-3</c:v>
                </c:pt>
                <c:pt idx="174">
                  <c:v>7.1375231545506169E-3</c:v>
                </c:pt>
                <c:pt idx="175">
                  <c:v>7.1857692706611982E-3</c:v>
                </c:pt>
                <c:pt idx="176">
                  <c:v>7.015755944504415E-3</c:v>
                </c:pt>
                <c:pt idx="177">
                  <c:v>7.0482046196753498E-3</c:v>
                </c:pt>
                <c:pt idx="178">
                  <c:v>7.0033304428495256E-3</c:v>
                </c:pt>
                <c:pt idx="179">
                  <c:v>6.986282063244819E-3</c:v>
                </c:pt>
                <c:pt idx="180">
                  <c:v>7.9663037965831268E-3</c:v>
                </c:pt>
                <c:pt idx="181">
                  <c:v>7.9158685479036317E-3</c:v>
                </c:pt>
                <c:pt idx="182">
                  <c:v>7.8394021308497135E-3</c:v>
                </c:pt>
                <c:pt idx="183">
                  <c:v>7.7156701697760829E-3</c:v>
                </c:pt>
                <c:pt idx="184">
                  <c:v>7.7498170413820861E-3</c:v>
                </c:pt>
                <c:pt idx="185">
                  <c:v>7.7556723668554938E-3</c:v>
                </c:pt>
                <c:pt idx="186">
                  <c:v>7.6983563574625508E-3</c:v>
                </c:pt>
                <c:pt idx="187">
                  <c:v>7.6555716518236601E-3</c:v>
                </c:pt>
                <c:pt idx="188">
                  <c:v>7.5204077465467704E-3</c:v>
                </c:pt>
                <c:pt idx="189">
                  <c:v>7.3866546465704676E-3</c:v>
                </c:pt>
                <c:pt idx="190">
                  <c:v>7.3295896894296393E-3</c:v>
                </c:pt>
                <c:pt idx="191">
                  <c:v>7.3715815169691536E-3</c:v>
                </c:pt>
                <c:pt idx="192">
                  <c:v>7.3119504610967808E-3</c:v>
                </c:pt>
                <c:pt idx="193">
                  <c:v>7.4578804041225332E-3</c:v>
                </c:pt>
                <c:pt idx="194">
                  <c:v>7.5681215940000953E-3</c:v>
                </c:pt>
                <c:pt idx="195">
                  <c:v>7.396865500237034E-3</c:v>
                </c:pt>
                <c:pt idx="196">
                  <c:v>7.3734767046266291E-3</c:v>
                </c:pt>
                <c:pt idx="197">
                  <c:v>5.8366225493815937E-3</c:v>
                </c:pt>
                <c:pt idx="198">
                  <c:v>5.7673027911912429E-3</c:v>
                </c:pt>
                <c:pt idx="199">
                  <c:v>5.8287025833389187E-3</c:v>
                </c:pt>
                <c:pt idx="200">
                  <c:v>5.7276068638391509E-3</c:v>
                </c:pt>
                <c:pt idx="201">
                  <c:v>5.7670353376602663E-3</c:v>
                </c:pt>
                <c:pt idx="202">
                  <c:v>5.8316876945930778E-3</c:v>
                </c:pt>
                <c:pt idx="203">
                  <c:v>6.5432585152822098E-3</c:v>
                </c:pt>
                <c:pt idx="204">
                  <c:v>6.5390236208638887E-3</c:v>
                </c:pt>
                <c:pt idx="205">
                  <c:v>6.3492033543956581E-3</c:v>
                </c:pt>
                <c:pt idx="206">
                  <c:v>6.301514983204067E-3</c:v>
                </c:pt>
                <c:pt idx="207">
                  <c:v>6.4730676473692284E-3</c:v>
                </c:pt>
                <c:pt idx="208">
                  <c:v>6.5306843859449029E-3</c:v>
                </c:pt>
                <c:pt idx="209">
                  <c:v>6.5489599365259185E-3</c:v>
                </c:pt>
                <c:pt idx="210">
                  <c:v>5.5273613139673093E-3</c:v>
                </c:pt>
                <c:pt idx="211">
                  <c:v>6.4727600284483116E-3</c:v>
                </c:pt>
                <c:pt idx="212">
                  <c:v>6.4845559237362649E-3</c:v>
                </c:pt>
                <c:pt idx="213">
                  <c:v>6.9065170194043549E-3</c:v>
                </c:pt>
                <c:pt idx="214">
                  <c:v>6.8974532994195616E-3</c:v>
                </c:pt>
                <c:pt idx="215">
                  <c:v>6.8911136852632116E-3</c:v>
                </c:pt>
                <c:pt idx="216">
                  <c:v>6.8572308155601339E-3</c:v>
                </c:pt>
                <c:pt idx="217">
                  <c:v>6.935016233275932E-3</c:v>
                </c:pt>
                <c:pt idx="218">
                  <c:v>6.9587941954816056E-3</c:v>
                </c:pt>
                <c:pt idx="219">
                  <c:v>7.1471718327792942E-3</c:v>
                </c:pt>
                <c:pt idx="220">
                  <c:v>7.3820094070808154E-3</c:v>
                </c:pt>
                <c:pt idx="221">
                  <c:v>7.439673530381585E-3</c:v>
                </c:pt>
                <c:pt idx="222">
                  <c:v>7.4701684932163455E-3</c:v>
                </c:pt>
                <c:pt idx="223">
                  <c:v>7.5168543223816204E-3</c:v>
                </c:pt>
                <c:pt idx="224">
                  <c:v>7.5387864899733124E-3</c:v>
                </c:pt>
                <c:pt idx="225">
                  <c:v>7.5846198800378567E-3</c:v>
                </c:pt>
                <c:pt idx="226">
                  <c:v>7.5964520274266392E-3</c:v>
                </c:pt>
                <c:pt idx="227">
                  <c:v>7.5754129500156444E-3</c:v>
                </c:pt>
                <c:pt idx="228">
                  <c:v>7.6124616554786046E-3</c:v>
                </c:pt>
                <c:pt idx="229">
                  <c:v>7.5735610089800584E-3</c:v>
                </c:pt>
                <c:pt idx="230">
                  <c:v>7.5672661453619998E-3</c:v>
                </c:pt>
                <c:pt idx="231">
                  <c:v>7.709408086285347E-3</c:v>
                </c:pt>
                <c:pt idx="232">
                  <c:v>7.6273489284539829E-3</c:v>
                </c:pt>
                <c:pt idx="233">
                  <c:v>7.1943367741304663E-3</c:v>
                </c:pt>
                <c:pt idx="234">
                  <c:v>7.2175465189899292E-3</c:v>
                </c:pt>
                <c:pt idx="235">
                  <c:v>7.2113089632240644E-3</c:v>
                </c:pt>
                <c:pt idx="236">
                  <c:v>7.0303899224908655E-3</c:v>
                </c:pt>
                <c:pt idx="237">
                  <c:v>6.9700357451029319E-3</c:v>
                </c:pt>
                <c:pt idx="238">
                  <c:v>6.9337123672090859E-3</c:v>
                </c:pt>
                <c:pt idx="239">
                  <c:v>6.9669685286637955E-3</c:v>
                </c:pt>
                <c:pt idx="240">
                  <c:v>6.9327127474996062E-3</c:v>
                </c:pt>
                <c:pt idx="241">
                  <c:v>6.2223887893172024E-3</c:v>
                </c:pt>
                <c:pt idx="242">
                  <c:v>6.2325940359298816E-3</c:v>
                </c:pt>
                <c:pt idx="243">
                  <c:v>5.8545735654548237E-3</c:v>
                </c:pt>
                <c:pt idx="244">
                  <c:v>5.8688760087641303E-3</c:v>
                </c:pt>
                <c:pt idx="245">
                  <c:v>5.8706053994822937E-3</c:v>
                </c:pt>
                <c:pt idx="246">
                  <c:v>5.8889323579196995E-3</c:v>
                </c:pt>
                <c:pt idx="247">
                  <c:v>5.7668328939546355E-3</c:v>
                </c:pt>
                <c:pt idx="248">
                  <c:v>5.7830857510986905E-3</c:v>
                </c:pt>
                <c:pt idx="249">
                  <c:v>5.581985111763949E-3</c:v>
                </c:pt>
                <c:pt idx="250">
                  <c:v>5.4265491198299317E-3</c:v>
                </c:pt>
                <c:pt idx="251">
                  <c:v>5.3832252358871563E-3</c:v>
                </c:pt>
                <c:pt idx="252">
                  <c:v>5.0797383839749667E-3</c:v>
                </c:pt>
                <c:pt idx="253">
                  <c:v>4.9249643019785086E-3</c:v>
                </c:pt>
                <c:pt idx="254">
                  <c:v>4.9780891500990649E-3</c:v>
                </c:pt>
                <c:pt idx="255">
                  <c:v>5.1372552517747437E-3</c:v>
                </c:pt>
                <c:pt idx="256">
                  <c:v>5.1821847333453457E-3</c:v>
                </c:pt>
                <c:pt idx="257">
                  <c:v>5.1625751179728467E-3</c:v>
                </c:pt>
                <c:pt idx="258">
                  <c:v>5.1375643256694747E-3</c:v>
                </c:pt>
                <c:pt idx="259">
                  <c:v>5.1263929271166513E-3</c:v>
                </c:pt>
                <c:pt idx="260">
                  <c:v>4.8285545366509048E-3</c:v>
                </c:pt>
                <c:pt idx="261">
                  <c:v>4.6225634893849472E-3</c:v>
                </c:pt>
                <c:pt idx="262">
                  <c:v>4.6351793832448435E-3</c:v>
                </c:pt>
                <c:pt idx="263">
                  <c:v>4.4284100981368292E-3</c:v>
                </c:pt>
                <c:pt idx="264">
                  <c:v>4.4279442086213455E-3</c:v>
                </c:pt>
                <c:pt idx="265">
                  <c:v>4.4397693809256353E-3</c:v>
                </c:pt>
                <c:pt idx="266">
                  <c:v>4.5291251918313886E-3</c:v>
                </c:pt>
                <c:pt idx="267">
                  <c:v>4.3014647851460346E-3</c:v>
                </c:pt>
                <c:pt idx="268">
                  <c:v>4.092288218217748E-3</c:v>
                </c:pt>
                <c:pt idx="269">
                  <c:v>3.780459934939492E-3</c:v>
                </c:pt>
                <c:pt idx="270">
                  <c:v>3.7121058525098559E-3</c:v>
                </c:pt>
                <c:pt idx="271">
                  <c:v>3.6760256429513995E-3</c:v>
                </c:pt>
                <c:pt idx="272">
                  <c:v>3.6699505971673784E-3</c:v>
                </c:pt>
                <c:pt idx="273">
                  <c:v>4.0998489525122649E-3</c:v>
                </c:pt>
                <c:pt idx="274">
                  <c:v>4.2031151723056336E-3</c:v>
                </c:pt>
                <c:pt idx="275">
                  <c:v>4.1898727756258984E-3</c:v>
                </c:pt>
                <c:pt idx="276">
                  <c:v>4.2614819248124854E-3</c:v>
                </c:pt>
                <c:pt idx="277">
                  <c:v>4.2830323095121954E-3</c:v>
                </c:pt>
                <c:pt idx="278">
                  <c:v>4.5058953544705425E-3</c:v>
                </c:pt>
                <c:pt idx="279">
                  <c:v>4.1930282906761391E-3</c:v>
                </c:pt>
                <c:pt idx="280">
                  <c:v>4.2688423151066666E-3</c:v>
                </c:pt>
                <c:pt idx="281">
                  <c:v>4.4623477710662995E-3</c:v>
                </c:pt>
                <c:pt idx="282">
                  <c:v>4.5566949367081564E-3</c:v>
                </c:pt>
                <c:pt idx="283">
                  <c:v>4.7187036989774431E-3</c:v>
                </c:pt>
                <c:pt idx="284">
                  <c:v>4.6812262823366455E-3</c:v>
                </c:pt>
                <c:pt idx="285">
                  <c:v>4.6169814873446048E-3</c:v>
                </c:pt>
                <c:pt idx="286">
                  <c:v>4.6367132989600657E-3</c:v>
                </c:pt>
                <c:pt idx="287">
                  <c:v>4.5443301003896463E-3</c:v>
                </c:pt>
                <c:pt idx="288">
                  <c:v>4.5209660284012878E-3</c:v>
                </c:pt>
                <c:pt idx="289">
                  <c:v>4.5381443315467085E-3</c:v>
                </c:pt>
                <c:pt idx="290">
                  <c:v>4.650435563704417E-3</c:v>
                </c:pt>
                <c:pt idx="291">
                  <c:v>4.8673915284901141E-3</c:v>
                </c:pt>
                <c:pt idx="292">
                  <c:v>4.8670270461398137E-3</c:v>
                </c:pt>
                <c:pt idx="293">
                  <c:v>4.8973046300784633E-3</c:v>
                </c:pt>
                <c:pt idx="294">
                  <c:v>4.9034799944068265E-3</c:v>
                </c:pt>
                <c:pt idx="295">
                  <c:v>4.9014179166553106E-3</c:v>
                </c:pt>
                <c:pt idx="296">
                  <c:v>4.8282248272527245E-3</c:v>
                </c:pt>
                <c:pt idx="297">
                  <c:v>4.931647805454035E-3</c:v>
                </c:pt>
                <c:pt idx="298">
                  <c:v>5.1025768913950898E-3</c:v>
                </c:pt>
                <c:pt idx="299">
                  <c:v>5.0859687699919944E-3</c:v>
                </c:pt>
                <c:pt idx="300">
                  <c:v>5.0880655584801615E-3</c:v>
                </c:pt>
                <c:pt idx="301">
                  <c:v>5.2317392540352677E-3</c:v>
                </c:pt>
                <c:pt idx="302">
                  <c:v>5.2831934701622878E-3</c:v>
                </c:pt>
                <c:pt idx="303">
                  <c:v>5.1034194177596781E-3</c:v>
                </c:pt>
                <c:pt idx="304">
                  <c:v>4.9574528646534792E-3</c:v>
                </c:pt>
                <c:pt idx="305">
                  <c:v>5.0864598808288575E-3</c:v>
                </c:pt>
                <c:pt idx="306">
                  <c:v>5.0838385617838384E-3</c:v>
                </c:pt>
                <c:pt idx="307">
                  <c:v>5.0765658890702409E-3</c:v>
                </c:pt>
                <c:pt idx="308">
                  <c:v>4.9676947233899451E-3</c:v>
                </c:pt>
                <c:pt idx="309">
                  <c:v>4.9352249061104707E-3</c:v>
                </c:pt>
                <c:pt idx="310">
                  <c:v>4.8039580684404361E-3</c:v>
                </c:pt>
                <c:pt idx="311">
                  <c:v>4.9539944394971979E-3</c:v>
                </c:pt>
                <c:pt idx="312">
                  <c:v>4.7417057230691537E-3</c:v>
                </c:pt>
                <c:pt idx="313">
                  <c:v>4.6879455715883207E-3</c:v>
                </c:pt>
                <c:pt idx="314">
                  <c:v>4.6205319609724238E-3</c:v>
                </c:pt>
                <c:pt idx="315">
                  <c:v>4.5888251776415243E-3</c:v>
                </c:pt>
                <c:pt idx="316">
                  <c:v>4.8983416258436508E-3</c:v>
                </c:pt>
                <c:pt idx="317">
                  <c:v>4.9326192147983909E-3</c:v>
                </c:pt>
                <c:pt idx="318">
                  <c:v>4.9653137457624083E-3</c:v>
                </c:pt>
                <c:pt idx="319">
                  <c:v>5.0094129037736084E-3</c:v>
                </c:pt>
                <c:pt idx="320">
                  <c:v>4.93281051417622E-3</c:v>
                </c:pt>
                <c:pt idx="321">
                  <c:v>5.5386885206544787E-3</c:v>
                </c:pt>
                <c:pt idx="322">
                  <c:v>5.8859769265789379E-3</c:v>
                </c:pt>
                <c:pt idx="323">
                  <c:v>6.4032997137306114E-3</c:v>
                </c:pt>
                <c:pt idx="324">
                  <c:v>6.7605895269669588E-3</c:v>
                </c:pt>
                <c:pt idx="325">
                  <c:v>7.5077935796346923E-3</c:v>
                </c:pt>
                <c:pt idx="326">
                  <c:v>7.6391947688352474E-3</c:v>
                </c:pt>
                <c:pt idx="327">
                  <c:v>7.5702371910023368E-3</c:v>
                </c:pt>
                <c:pt idx="328">
                  <c:v>7.8023423816410619E-3</c:v>
                </c:pt>
                <c:pt idx="329">
                  <c:v>8.0277519007143257E-3</c:v>
                </c:pt>
                <c:pt idx="330">
                  <c:v>8.1093615936986517E-3</c:v>
                </c:pt>
                <c:pt idx="331">
                  <c:v>8.2429654279408144E-3</c:v>
                </c:pt>
                <c:pt idx="332">
                  <c:v>8.2084870608284573E-3</c:v>
                </c:pt>
                <c:pt idx="333">
                  <c:v>8.2431752736110593E-3</c:v>
                </c:pt>
                <c:pt idx="334">
                  <c:v>8.923703404022371E-3</c:v>
                </c:pt>
                <c:pt idx="335">
                  <c:v>8.8745843658758709E-3</c:v>
                </c:pt>
                <c:pt idx="336">
                  <c:v>9.1095350246652492E-3</c:v>
                </c:pt>
                <c:pt idx="337">
                  <c:v>9.3360590029752614E-3</c:v>
                </c:pt>
                <c:pt idx="338">
                  <c:v>9.4291071541975236E-3</c:v>
                </c:pt>
                <c:pt idx="339">
                  <c:v>9.4947571308879024E-3</c:v>
                </c:pt>
                <c:pt idx="340">
                  <c:v>9.4881767590853927E-3</c:v>
                </c:pt>
                <c:pt idx="341">
                  <c:v>9.601958078141043E-3</c:v>
                </c:pt>
                <c:pt idx="342">
                  <c:v>9.7828031037185785E-3</c:v>
                </c:pt>
                <c:pt idx="343">
                  <c:v>9.6897911798239176E-3</c:v>
                </c:pt>
                <c:pt idx="344">
                  <c:v>9.5330035055937005E-3</c:v>
                </c:pt>
                <c:pt idx="345">
                  <c:v>9.6557336799808612E-3</c:v>
                </c:pt>
                <c:pt idx="346">
                  <c:v>9.4709958015602776E-3</c:v>
                </c:pt>
                <c:pt idx="347">
                  <c:v>9.3086223615777078E-3</c:v>
                </c:pt>
                <c:pt idx="348">
                  <c:v>9.248987347382439E-3</c:v>
                </c:pt>
                <c:pt idx="349">
                  <c:v>9.0755973702348232E-3</c:v>
                </c:pt>
                <c:pt idx="350">
                  <c:v>8.1460392667990367E-3</c:v>
                </c:pt>
                <c:pt idx="351">
                  <c:v>8.1354848513734875E-3</c:v>
                </c:pt>
                <c:pt idx="352">
                  <c:v>8.1118153021834793E-3</c:v>
                </c:pt>
                <c:pt idx="353">
                  <c:v>7.9821032156237402E-3</c:v>
                </c:pt>
                <c:pt idx="354">
                  <c:v>7.881489911501071E-3</c:v>
                </c:pt>
                <c:pt idx="355">
                  <c:v>7.5973857135634478E-3</c:v>
                </c:pt>
                <c:pt idx="356">
                  <c:v>7.6962344113535334E-3</c:v>
                </c:pt>
                <c:pt idx="357">
                  <c:v>7.7608371567131828E-3</c:v>
                </c:pt>
                <c:pt idx="358">
                  <c:v>7.7268907835103444E-3</c:v>
                </c:pt>
                <c:pt idx="359">
                  <c:v>7.5874492298375826E-3</c:v>
                </c:pt>
                <c:pt idx="360">
                  <c:v>7.5835775654151472E-3</c:v>
                </c:pt>
                <c:pt idx="361">
                  <c:v>7.4505871854670565E-3</c:v>
                </c:pt>
                <c:pt idx="362">
                  <c:v>7.4501856091297872E-3</c:v>
                </c:pt>
                <c:pt idx="363">
                  <c:v>7.5738337922237765E-3</c:v>
                </c:pt>
                <c:pt idx="364">
                  <c:v>7.1375801987022822E-3</c:v>
                </c:pt>
                <c:pt idx="365">
                  <c:v>7.1741576479820834E-3</c:v>
                </c:pt>
                <c:pt idx="366">
                  <c:v>6.7500209430800765E-3</c:v>
                </c:pt>
                <c:pt idx="367">
                  <c:v>6.7497199476126294E-3</c:v>
                </c:pt>
                <c:pt idx="368">
                  <c:v>6.6786576931160604E-3</c:v>
                </c:pt>
                <c:pt idx="369">
                  <c:v>6.3871523008943503E-3</c:v>
                </c:pt>
                <c:pt idx="370">
                  <c:v>6.3876697745902525E-3</c:v>
                </c:pt>
                <c:pt idx="371">
                  <c:v>6.4124135300676578E-3</c:v>
                </c:pt>
                <c:pt idx="372">
                  <c:v>6.489703596268874E-3</c:v>
                </c:pt>
                <c:pt idx="373">
                  <c:v>6.4930112871686872E-3</c:v>
                </c:pt>
                <c:pt idx="374">
                  <c:v>6.5458206424817448E-3</c:v>
                </c:pt>
                <c:pt idx="375">
                  <c:v>6.0292940616323253E-3</c:v>
                </c:pt>
                <c:pt idx="376">
                  <c:v>6.1168965331491292E-3</c:v>
                </c:pt>
                <c:pt idx="377">
                  <c:v>6.1613623613482006E-3</c:v>
                </c:pt>
                <c:pt idx="378">
                  <c:v>5.9612539773329564E-3</c:v>
                </c:pt>
                <c:pt idx="379">
                  <c:v>5.9423510711780645E-3</c:v>
                </c:pt>
                <c:pt idx="380">
                  <c:v>5.9675474597368407E-3</c:v>
                </c:pt>
                <c:pt idx="381">
                  <c:v>5.9719853935956595E-3</c:v>
                </c:pt>
                <c:pt idx="382">
                  <c:v>5.9658395368343232E-3</c:v>
                </c:pt>
                <c:pt idx="383">
                  <c:v>5.9400280527875998E-3</c:v>
                </c:pt>
                <c:pt idx="384">
                  <c:v>6.0177878894461766E-3</c:v>
                </c:pt>
                <c:pt idx="385">
                  <c:v>6.0009406952851937E-3</c:v>
                </c:pt>
                <c:pt idx="386">
                  <c:v>6.0373657074503278E-3</c:v>
                </c:pt>
                <c:pt idx="387">
                  <c:v>6.3138844488113922E-3</c:v>
                </c:pt>
                <c:pt idx="388">
                  <c:v>6.1218595331282563E-3</c:v>
                </c:pt>
                <c:pt idx="389">
                  <c:v>6.0796952920229713E-3</c:v>
                </c:pt>
                <c:pt idx="390">
                  <c:v>6.1645872734907067E-3</c:v>
                </c:pt>
                <c:pt idx="391">
                  <c:v>6.8132763267788627E-3</c:v>
                </c:pt>
                <c:pt idx="392">
                  <c:v>7.2156587834410011E-3</c:v>
                </c:pt>
                <c:pt idx="393">
                  <c:v>7.3620368191283057E-3</c:v>
                </c:pt>
                <c:pt idx="394">
                  <c:v>7.4252938610617717E-3</c:v>
                </c:pt>
                <c:pt idx="395">
                  <c:v>7.4466665532057566E-3</c:v>
                </c:pt>
                <c:pt idx="396">
                  <c:v>7.5503326798355757E-3</c:v>
                </c:pt>
                <c:pt idx="397">
                  <c:v>7.5616270423669394E-3</c:v>
                </c:pt>
                <c:pt idx="398">
                  <c:v>7.3577654198037383E-3</c:v>
                </c:pt>
                <c:pt idx="399">
                  <c:v>7.4159497235339409E-3</c:v>
                </c:pt>
                <c:pt idx="400">
                  <c:v>7.4244111359653194E-3</c:v>
                </c:pt>
                <c:pt idx="401">
                  <c:v>7.3043843625057005E-3</c:v>
                </c:pt>
                <c:pt idx="402">
                  <c:v>6.9897385618092039E-3</c:v>
                </c:pt>
                <c:pt idx="403">
                  <c:v>6.9718397241582018E-3</c:v>
                </c:pt>
                <c:pt idx="404">
                  <c:v>6.9379924407935922E-3</c:v>
                </c:pt>
                <c:pt idx="405">
                  <c:v>6.7170844644532691E-3</c:v>
                </c:pt>
                <c:pt idx="406">
                  <c:v>6.49743567717238E-3</c:v>
                </c:pt>
                <c:pt idx="407">
                  <c:v>6.71336869780136E-3</c:v>
                </c:pt>
                <c:pt idx="408">
                  <c:v>6.6942911542146521E-3</c:v>
                </c:pt>
                <c:pt idx="409">
                  <c:v>6.5386578364138989E-3</c:v>
                </c:pt>
                <c:pt idx="410">
                  <c:v>6.4871454649546596E-3</c:v>
                </c:pt>
                <c:pt idx="411">
                  <c:v>6.7986421159721613E-3</c:v>
                </c:pt>
                <c:pt idx="412">
                  <c:v>6.7820286467205242E-3</c:v>
                </c:pt>
                <c:pt idx="413">
                  <c:v>6.5845952638440468E-3</c:v>
                </c:pt>
                <c:pt idx="414">
                  <c:v>6.8839272011760209E-3</c:v>
                </c:pt>
                <c:pt idx="415">
                  <c:v>6.7847665658275864E-3</c:v>
                </c:pt>
                <c:pt idx="416">
                  <c:v>6.5651881115614333E-3</c:v>
                </c:pt>
                <c:pt idx="417">
                  <c:v>6.0367472267620634E-3</c:v>
                </c:pt>
                <c:pt idx="418">
                  <c:v>5.9002733824458763E-3</c:v>
                </c:pt>
                <c:pt idx="419">
                  <c:v>5.6926104976883669E-3</c:v>
                </c:pt>
                <c:pt idx="420">
                  <c:v>5.1183338741296949E-3</c:v>
                </c:pt>
                <c:pt idx="421">
                  <c:v>5.1789764112475153E-3</c:v>
                </c:pt>
                <c:pt idx="422">
                  <c:v>5.4007322569584407E-3</c:v>
                </c:pt>
                <c:pt idx="423">
                  <c:v>5.2139762877723376E-3</c:v>
                </c:pt>
                <c:pt idx="424">
                  <c:v>5.2052397180449277E-3</c:v>
                </c:pt>
                <c:pt idx="425">
                  <c:v>5.1738963453659735E-3</c:v>
                </c:pt>
                <c:pt idx="426">
                  <c:v>5.1689659423873697E-3</c:v>
                </c:pt>
                <c:pt idx="427">
                  <c:v>5.0957400368286934E-3</c:v>
                </c:pt>
                <c:pt idx="428">
                  <c:v>5.0329985433312883E-3</c:v>
                </c:pt>
                <c:pt idx="429">
                  <c:v>5.0021691817664065E-3</c:v>
                </c:pt>
                <c:pt idx="430">
                  <c:v>5.2196561630850607E-3</c:v>
                </c:pt>
                <c:pt idx="431">
                  <c:v>5.2250368302478875E-3</c:v>
                </c:pt>
                <c:pt idx="432">
                  <c:v>5.2297859738157154E-3</c:v>
                </c:pt>
                <c:pt idx="433">
                  <c:v>5.2379565895638545E-3</c:v>
                </c:pt>
                <c:pt idx="434">
                  <c:v>5.2173845223305983E-3</c:v>
                </c:pt>
                <c:pt idx="435">
                  <c:v>5.7352166482912068E-3</c:v>
                </c:pt>
                <c:pt idx="436">
                  <c:v>5.734385279029623E-3</c:v>
                </c:pt>
                <c:pt idx="437">
                  <c:v>5.4572219293654908E-3</c:v>
                </c:pt>
                <c:pt idx="438">
                  <c:v>6.5631373502592844E-3</c:v>
                </c:pt>
                <c:pt idx="439">
                  <c:v>6.5696604994411262E-3</c:v>
                </c:pt>
                <c:pt idx="440">
                  <c:v>6.4062485783361045E-3</c:v>
                </c:pt>
                <c:pt idx="441">
                  <c:v>6.220717937571515E-3</c:v>
                </c:pt>
                <c:pt idx="442">
                  <c:v>6.0549432102837801E-3</c:v>
                </c:pt>
                <c:pt idx="443">
                  <c:v>6.2384383277039861E-3</c:v>
                </c:pt>
                <c:pt idx="444">
                  <c:v>6.0345855001613657E-3</c:v>
                </c:pt>
                <c:pt idx="445">
                  <c:v>6.0329433691305124E-3</c:v>
                </c:pt>
                <c:pt idx="446">
                  <c:v>6.1978871909328806E-3</c:v>
                </c:pt>
                <c:pt idx="447">
                  <c:v>6.1383763811900622E-3</c:v>
                </c:pt>
                <c:pt idx="448">
                  <c:v>6.1718487203650313E-3</c:v>
                </c:pt>
                <c:pt idx="449">
                  <c:v>6.2077027309610615E-3</c:v>
                </c:pt>
                <c:pt idx="450">
                  <c:v>6.2169239937505862E-3</c:v>
                </c:pt>
                <c:pt idx="451">
                  <c:v>6.0465364612022534E-3</c:v>
                </c:pt>
                <c:pt idx="452">
                  <c:v>5.8693352080265038E-3</c:v>
                </c:pt>
                <c:pt idx="453">
                  <c:v>5.9351809873203444E-3</c:v>
                </c:pt>
                <c:pt idx="454">
                  <c:v>6.463228044559689E-3</c:v>
                </c:pt>
                <c:pt idx="455">
                  <c:v>6.5200447493186341E-3</c:v>
                </c:pt>
                <c:pt idx="456">
                  <c:v>6.5353014533903065E-3</c:v>
                </c:pt>
                <c:pt idx="457">
                  <c:v>6.5507821129859927E-3</c:v>
                </c:pt>
                <c:pt idx="458">
                  <c:v>6.6247075104480602E-3</c:v>
                </c:pt>
                <c:pt idx="459">
                  <c:v>6.6914511440703556E-3</c:v>
                </c:pt>
                <c:pt idx="460">
                  <c:v>6.6998127937375179E-3</c:v>
                </c:pt>
                <c:pt idx="461">
                  <c:v>6.7643086675427183E-3</c:v>
                </c:pt>
                <c:pt idx="462">
                  <c:v>6.7395471264945434E-3</c:v>
                </c:pt>
                <c:pt idx="463">
                  <c:v>6.6602343984260119E-3</c:v>
                </c:pt>
                <c:pt idx="464">
                  <c:v>6.6376839910974334E-3</c:v>
                </c:pt>
                <c:pt idx="465">
                  <c:v>6.2961023471928826E-3</c:v>
                </c:pt>
                <c:pt idx="466">
                  <c:v>6.4553157255644337E-3</c:v>
                </c:pt>
                <c:pt idx="467">
                  <c:v>6.6773031402900997E-3</c:v>
                </c:pt>
                <c:pt idx="468">
                  <c:v>5.739608213902847E-3</c:v>
                </c:pt>
                <c:pt idx="469">
                  <c:v>5.9131735422867249E-3</c:v>
                </c:pt>
                <c:pt idx="470">
                  <c:v>6.0244575592699736E-3</c:v>
                </c:pt>
                <c:pt idx="471">
                  <c:v>5.9613565596491344E-3</c:v>
                </c:pt>
                <c:pt idx="472">
                  <c:v>5.9716933317519715E-3</c:v>
                </c:pt>
                <c:pt idx="473">
                  <c:v>5.8151750926229697E-3</c:v>
                </c:pt>
                <c:pt idx="474">
                  <c:v>5.8628151579522055E-3</c:v>
                </c:pt>
                <c:pt idx="475">
                  <c:v>6.012403511866847E-3</c:v>
                </c:pt>
                <c:pt idx="476">
                  <c:v>5.8716817753745962E-3</c:v>
                </c:pt>
                <c:pt idx="477">
                  <c:v>5.9903192928705022E-3</c:v>
                </c:pt>
                <c:pt idx="478">
                  <c:v>5.9938225021731496E-3</c:v>
                </c:pt>
                <c:pt idx="479">
                  <c:v>6.6084340589261052E-3</c:v>
                </c:pt>
                <c:pt idx="480">
                  <c:v>6.6707728041136647E-3</c:v>
                </c:pt>
                <c:pt idx="481">
                  <c:v>6.7081777977813966E-3</c:v>
                </c:pt>
                <c:pt idx="482">
                  <c:v>6.7138751348928419E-3</c:v>
                </c:pt>
                <c:pt idx="483">
                  <c:v>6.7483172996248893E-3</c:v>
                </c:pt>
                <c:pt idx="484">
                  <c:v>6.030356370466998E-3</c:v>
                </c:pt>
                <c:pt idx="485">
                  <c:v>6.0848077351926743E-3</c:v>
                </c:pt>
                <c:pt idx="486">
                  <c:v>6.0526756380644576E-3</c:v>
                </c:pt>
                <c:pt idx="487">
                  <c:v>6.182550076146159E-3</c:v>
                </c:pt>
                <c:pt idx="488">
                  <c:v>6.1037256850734701E-3</c:v>
                </c:pt>
                <c:pt idx="489">
                  <c:v>6.0411506178460195E-3</c:v>
                </c:pt>
                <c:pt idx="490">
                  <c:v>6.1132363779945499E-3</c:v>
                </c:pt>
                <c:pt idx="491">
                  <c:v>6.0799584861692983E-3</c:v>
                </c:pt>
                <c:pt idx="492">
                  <c:v>5.9738649989363821E-3</c:v>
                </c:pt>
                <c:pt idx="493">
                  <c:v>6.8210828895634715E-3</c:v>
                </c:pt>
                <c:pt idx="494">
                  <c:v>6.9460830364960393E-3</c:v>
                </c:pt>
                <c:pt idx="495">
                  <c:v>7.016118400351332E-3</c:v>
                </c:pt>
                <c:pt idx="496">
                  <c:v>7.1967223662955399E-3</c:v>
                </c:pt>
                <c:pt idx="497">
                  <c:v>7.2299450752497715E-3</c:v>
                </c:pt>
                <c:pt idx="498">
                  <c:v>7.0416572790446301E-3</c:v>
                </c:pt>
                <c:pt idx="499">
                  <c:v>6.8286996786843107E-3</c:v>
                </c:pt>
                <c:pt idx="500">
                  <c:v>6.8035080700915487E-3</c:v>
                </c:pt>
                <c:pt idx="501">
                  <c:v>6.7993919628428984E-3</c:v>
                </c:pt>
                <c:pt idx="502">
                  <c:v>6.9406522881911787E-3</c:v>
                </c:pt>
                <c:pt idx="503">
                  <c:v>7.0610291369473648E-3</c:v>
                </c:pt>
                <c:pt idx="504">
                  <c:v>7.0715030390679796E-3</c:v>
                </c:pt>
                <c:pt idx="505">
                  <c:v>6.9362480364532431E-3</c:v>
                </c:pt>
                <c:pt idx="506">
                  <c:v>6.91732915865414E-3</c:v>
                </c:pt>
                <c:pt idx="507">
                  <c:v>6.9723009907353061E-3</c:v>
                </c:pt>
                <c:pt idx="508">
                  <c:v>6.8786241486506186E-3</c:v>
                </c:pt>
                <c:pt idx="509">
                  <c:v>6.4175807869789707E-3</c:v>
                </c:pt>
                <c:pt idx="510">
                  <c:v>6.5446225928986832E-3</c:v>
                </c:pt>
                <c:pt idx="511">
                  <c:v>6.5837528105272755E-3</c:v>
                </c:pt>
                <c:pt idx="512">
                  <c:v>6.564527034489424E-3</c:v>
                </c:pt>
                <c:pt idx="513">
                  <c:v>6.5698461832536309E-3</c:v>
                </c:pt>
                <c:pt idx="514">
                  <c:v>6.505497664978494E-3</c:v>
                </c:pt>
                <c:pt idx="515">
                  <c:v>6.3998862181002727E-3</c:v>
                </c:pt>
                <c:pt idx="516">
                  <c:v>6.4052112010133892E-3</c:v>
                </c:pt>
                <c:pt idx="517">
                  <c:v>6.5749846248963559E-3</c:v>
                </c:pt>
                <c:pt idx="518">
                  <c:v>6.7863979790180346E-3</c:v>
                </c:pt>
                <c:pt idx="519">
                  <c:v>7.2724494410059282E-3</c:v>
                </c:pt>
                <c:pt idx="520">
                  <c:v>7.2898300153755816E-3</c:v>
                </c:pt>
                <c:pt idx="521">
                  <c:v>7.3612620618788271E-3</c:v>
                </c:pt>
                <c:pt idx="522">
                  <c:v>7.3794216996896549E-3</c:v>
                </c:pt>
                <c:pt idx="523">
                  <c:v>6.8315997281278157E-3</c:v>
                </c:pt>
                <c:pt idx="524">
                  <c:v>6.728340035906096E-3</c:v>
                </c:pt>
                <c:pt idx="525">
                  <c:v>6.8541613127545992E-3</c:v>
                </c:pt>
                <c:pt idx="526">
                  <c:v>6.6596918440296202E-3</c:v>
                </c:pt>
                <c:pt idx="527">
                  <c:v>6.5488212612213629E-3</c:v>
                </c:pt>
                <c:pt idx="528">
                  <c:v>6.6933634656843365E-3</c:v>
                </c:pt>
                <c:pt idx="529">
                  <c:v>6.6986997627270766E-3</c:v>
                </c:pt>
                <c:pt idx="530">
                  <c:v>7.742272826170021E-3</c:v>
                </c:pt>
                <c:pt idx="531">
                  <c:v>7.7292618115611294E-3</c:v>
                </c:pt>
                <c:pt idx="532">
                  <c:v>7.7385760426393118E-3</c:v>
                </c:pt>
                <c:pt idx="533">
                  <c:v>8.0677455951685267E-3</c:v>
                </c:pt>
                <c:pt idx="534">
                  <c:v>8.1691262567707302E-3</c:v>
                </c:pt>
                <c:pt idx="535">
                  <c:v>8.1911084953626753E-3</c:v>
                </c:pt>
                <c:pt idx="536">
                  <c:v>8.2784001252197495E-3</c:v>
                </c:pt>
                <c:pt idx="537">
                  <c:v>8.261844563055178E-3</c:v>
                </c:pt>
                <c:pt idx="538">
                  <c:v>8.2561808168258952E-3</c:v>
                </c:pt>
                <c:pt idx="539">
                  <c:v>8.2492112810215821E-3</c:v>
                </c:pt>
                <c:pt idx="540">
                  <c:v>8.1534016764698274E-3</c:v>
                </c:pt>
                <c:pt idx="541">
                  <c:v>8.087540317061952E-3</c:v>
                </c:pt>
                <c:pt idx="542">
                  <c:v>8.0001921471526856E-3</c:v>
                </c:pt>
                <c:pt idx="543">
                  <c:v>7.9913647245585338E-3</c:v>
                </c:pt>
                <c:pt idx="544">
                  <c:v>8.0837870493137998E-3</c:v>
                </c:pt>
                <c:pt idx="545">
                  <c:v>8.1698542717363563E-3</c:v>
                </c:pt>
                <c:pt idx="546">
                  <c:v>8.1750939072240698E-3</c:v>
                </c:pt>
                <c:pt idx="547">
                  <c:v>8.0086305316282112E-3</c:v>
                </c:pt>
                <c:pt idx="548">
                  <c:v>7.8976479996386503E-3</c:v>
                </c:pt>
                <c:pt idx="549">
                  <c:v>7.5110610363515514E-3</c:v>
                </c:pt>
                <c:pt idx="550">
                  <c:v>7.5581198066424536E-3</c:v>
                </c:pt>
                <c:pt idx="551">
                  <c:v>7.5353259410533479E-3</c:v>
                </c:pt>
                <c:pt idx="552">
                  <c:v>7.6142011625114974E-3</c:v>
                </c:pt>
                <c:pt idx="553">
                  <c:v>7.4882819893268386E-3</c:v>
                </c:pt>
                <c:pt idx="554">
                  <c:v>7.431317148390946E-3</c:v>
                </c:pt>
                <c:pt idx="555">
                  <c:v>7.3943908549502476E-3</c:v>
                </c:pt>
                <c:pt idx="556">
                  <c:v>7.372791277257598E-3</c:v>
                </c:pt>
                <c:pt idx="557">
                  <c:v>7.4927130767211171E-3</c:v>
                </c:pt>
                <c:pt idx="558">
                  <c:v>7.4569517482848385E-3</c:v>
                </c:pt>
                <c:pt idx="559">
                  <c:v>7.496985930390717E-3</c:v>
                </c:pt>
                <c:pt idx="560">
                  <c:v>6.2299154771933091E-3</c:v>
                </c:pt>
                <c:pt idx="561">
                  <c:v>6.2817154022229366E-3</c:v>
                </c:pt>
                <c:pt idx="562">
                  <c:v>6.2645982126085208E-3</c:v>
                </c:pt>
                <c:pt idx="563">
                  <c:v>5.4415027690637181E-3</c:v>
                </c:pt>
                <c:pt idx="564">
                  <c:v>5.3834995462326927E-3</c:v>
                </c:pt>
                <c:pt idx="565">
                  <c:v>5.1887614368678371E-3</c:v>
                </c:pt>
                <c:pt idx="566">
                  <c:v>5.1742092835500844E-3</c:v>
                </c:pt>
                <c:pt idx="567">
                  <c:v>5.1535878474108345E-3</c:v>
                </c:pt>
                <c:pt idx="568">
                  <c:v>5.0813167947703101E-3</c:v>
                </c:pt>
                <c:pt idx="569">
                  <c:v>5.0256047662267187E-3</c:v>
                </c:pt>
                <c:pt idx="570">
                  <c:v>5.2418821695408395E-3</c:v>
                </c:pt>
                <c:pt idx="571">
                  <c:v>5.4271925255685426E-3</c:v>
                </c:pt>
                <c:pt idx="572">
                  <c:v>5.4763111175565905E-3</c:v>
                </c:pt>
                <c:pt idx="573">
                  <c:v>5.4406064466712102E-3</c:v>
                </c:pt>
                <c:pt idx="574">
                  <c:v>5.9118891105387665E-3</c:v>
                </c:pt>
                <c:pt idx="575">
                  <c:v>5.9349554526143631E-3</c:v>
                </c:pt>
                <c:pt idx="576">
                  <c:v>5.8459429404137406E-3</c:v>
                </c:pt>
                <c:pt idx="577">
                  <c:v>5.8515343705453525E-3</c:v>
                </c:pt>
                <c:pt idx="578">
                  <c:v>5.8448090958337683E-3</c:v>
                </c:pt>
                <c:pt idx="579">
                  <c:v>5.8720220845758257E-3</c:v>
                </c:pt>
                <c:pt idx="580">
                  <c:v>5.7599455678412808E-3</c:v>
                </c:pt>
                <c:pt idx="581">
                  <c:v>5.6835576220999624E-3</c:v>
                </c:pt>
                <c:pt idx="582">
                  <c:v>5.6344501088708577E-3</c:v>
                </c:pt>
                <c:pt idx="583">
                  <c:v>5.632535890876561E-3</c:v>
                </c:pt>
                <c:pt idx="584">
                  <c:v>5.6676568313360695E-3</c:v>
                </c:pt>
                <c:pt idx="585">
                  <c:v>5.7086005880512582E-3</c:v>
                </c:pt>
                <c:pt idx="586">
                  <c:v>5.7659357775263686E-3</c:v>
                </c:pt>
                <c:pt idx="587">
                  <c:v>5.3850529218456584E-3</c:v>
                </c:pt>
                <c:pt idx="588">
                  <c:v>7.1635347536466451E-3</c:v>
                </c:pt>
                <c:pt idx="589">
                  <c:v>7.1155985764428994E-3</c:v>
                </c:pt>
                <c:pt idx="590">
                  <c:v>7.3221852826239435E-3</c:v>
                </c:pt>
                <c:pt idx="591">
                  <c:v>7.2934939392588251E-3</c:v>
                </c:pt>
                <c:pt idx="592">
                  <c:v>7.2261889543504673E-3</c:v>
                </c:pt>
                <c:pt idx="593">
                  <c:v>7.2294855922333083E-3</c:v>
                </c:pt>
                <c:pt idx="594">
                  <c:v>7.2558275740289687E-3</c:v>
                </c:pt>
                <c:pt idx="595">
                  <c:v>7.3250987540644146E-3</c:v>
                </c:pt>
                <c:pt idx="596">
                  <c:v>7.3137565541380699E-3</c:v>
                </c:pt>
                <c:pt idx="597">
                  <c:v>7.2489770068697133E-3</c:v>
                </c:pt>
                <c:pt idx="598">
                  <c:v>7.501917606016385E-3</c:v>
                </c:pt>
                <c:pt idx="599">
                  <c:v>7.5234311299433457E-3</c:v>
                </c:pt>
                <c:pt idx="600">
                  <c:v>7.7518346363012434E-3</c:v>
                </c:pt>
                <c:pt idx="601">
                  <c:v>7.7059963061537123E-3</c:v>
                </c:pt>
                <c:pt idx="602">
                  <c:v>8.2355201363546477E-3</c:v>
                </c:pt>
                <c:pt idx="603">
                  <c:v>8.3369512428903506E-3</c:v>
                </c:pt>
                <c:pt idx="604">
                  <c:v>7.9947566173428474E-3</c:v>
                </c:pt>
                <c:pt idx="605">
                  <c:v>7.8850789803025494E-3</c:v>
                </c:pt>
                <c:pt idx="606">
                  <c:v>7.8512796534864204E-3</c:v>
                </c:pt>
                <c:pt idx="607">
                  <c:v>7.8916987587946234E-3</c:v>
                </c:pt>
                <c:pt idx="608">
                  <c:v>7.9805146755819022E-3</c:v>
                </c:pt>
                <c:pt idx="609">
                  <c:v>8.0732809520401502E-3</c:v>
                </c:pt>
                <c:pt idx="610">
                  <c:v>8.0418632243850693E-3</c:v>
                </c:pt>
                <c:pt idx="611">
                  <c:v>7.9994597023371871E-3</c:v>
                </c:pt>
                <c:pt idx="612">
                  <c:v>7.9872212385319833E-3</c:v>
                </c:pt>
                <c:pt idx="613">
                  <c:v>7.9425650635643191E-3</c:v>
                </c:pt>
                <c:pt idx="614">
                  <c:v>7.9338440890864437E-3</c:v>
                </c:pt>
                <c:pt idx="615">
                  <c:v>7.7820788678602208E-3</c:v>
                </c:pt>
                <c:pt idx="616">
                  <c:v>7.8321469932290753E-3</c:v>
                </c:pt>
                <c:pt idx="617">
                  <c:v>7.8668397152710512E-3</c:v>
                </c:pt>
                <c:pt idx="618">
                  <c:v>6.776988259601254E-3</c:v>
                </c:pt>
                <c:pt idx="619">
                  <c:v>6.9168598434158788E-3</c:v>
                </c:pt>
                <c:pt idx="620">
                  <c:v>6.862023428978562E-3</c:v>
                </c:pt>
                <c:pt idx="621">
                  <c:v>6.9370528849330166E-3</c:v>
                </c:pt>
                <c:pt idx="622">
                  <c:v>6.9302153588867103E-3</c:v>
                </c:pt>
                <c:pt idx="623">
                  <c:v>6.9787936682718802E-3</c:v>
                </c:pt>
                <c:pt idx="624">
                  <c:v>7.0380289799942099E-3</c:v>
                </c:pt>
                <c:pt idx="625">
                  <c:v>7.8532997034209805E-3</c:v>
                </c:pt>
                <c:pt idx="626">
                  <c:v>9.4206389379123071E-3</c:v>
                </c:pt>
                <c:pt idx="627">
                  <c:v>9.5413253217796097E-3</c:v>
                </c:pt>
                <c:pt idx="628">
                  <c:v>9.503729929374977E-3</c:v>
                </c:pt>
                <c:pt idx="629">
                  <c:v>9.5912570858301197E-3</c:v>
                </c:pt>
                <c:pt idx="630">
                  <c:v>9.602315417233602E-3</c:v>
                </c:pt>
                <c:pt idx="631">
                  <c:v>9.6750715398590641E-3</c:v>
                </c:pt>
                <c:pt idx="632">
                  <c:v>9.179507833850558E-3</c:v>
                </c:pt>
                <c:pt idx="633">
                  <c:v>9.1745749764052826E-3</c:v>
                </c:pt>
                <c:pt idx="634">
                  <c:v>9.1749453003752649E-3</c:v>
                </c:pt>
                <c:pt idx="635">
                  <c:v>9.1771202890266156E-3</c:v>
                </c:pt>
                <c:pt idx="636">
                  <c:v>9.1671268500773343E-3</c:v>
                </c:pt>
                <c:pt idx="637">
                  <c:v>9.11333579074846E-3</c:v>
                </c:pt>
                <c:pt idx="638">
                  <c:v>8.9971116127194693E-3</c:v>
                </c:pt>
                <c:pt idx="639">
                  <c:v>9.0010610021377495E-3</c:v>
                </c:pt>
                <c:pt idx="640">
                  <c:v>9.0060084835650121E-3</c:v>
                </c:pt>
                <c:pt idx="641">
                  <c:v>9.0630373652287547E-3</c:v>
                </c:pt>
                <c:pt idx="642">
                  <c:v>9.0514489632109538E-3</c:v>
                </c:pt>
                <c:pt idx="643">
                  <c:v>9.0711026770902807E-3</c:v>
                </c:pt>
                <c:pt idx="644">
                  <c:v>8.9004987489322909E-3</c:v>
                </c:pt>
                <c:pt idx="645">
                  <c:v>9.1411067260212756E-3</c:v>
                </c:pt>
                <c:pt idx="646">
                  <c:v>9.1335371576798524E-3</c:v>
                </c:pt>
                <c:pt idx="647">
                  <c:v>9.1318161657566524E-3</c:v>
                </c:pt>
                <c:pt idx="648">
                  <c:v>9.0251211449126484E-3</c:v>
                </c:pt>
                <c:pt idx="649">
                  <c:v>9.0214722183093333E-3</c:v>
                </c:pt>
                <c:pt idx="650">
                  <c:v>8.958954235278203E-3</c:v>
                </c:pt>
                <c:pt idx="651">
                  <c:v>8.9046939536741379E-3</c:v>
                </c:pt>
                <c:pt idx="652">
                  <c:v>9.3567749664959371E-3</c:v>
                </c:pt>
                <c:pt idx="653">
                  <c:v>9.317153352537676E-3</c:v>
                </c:pt>
                <c:pt idx="654">
                  <c:v>9.2572255088915287E-3</c:v>
                </c:pt>
                <c:pt idx="655">
                  <c:v>8.4047912034138344E-3</c:v>
                </c:pt>
                <c:pt idx="656">
                  <c:v>6.0616093036021399E-3</c:v>
                </c:pt>
                <c:pt idx="657">
                  <c:v>6.0040264519601949E-3</c:v>
                </c:pt>
                <c:pt idx="658">
                  <c:v>5.9884456667837474E-3</c:v>
                </c:pt>
                <c:pt idx="659">
                  <c:v>6.0380224759091754E-3</c:v>
                </c:pt>
                <c:pt idx="660">
                  <c:v>5.8943676649427582E-3</c:v>
                </c:pt>
                <c:pt idx="661">
                  <c:v>5.8415733911411074E-3</c:v>
                </c:pt>
                <c:pt idx="662">
                  <c:v>5.8022635540479778E-3</c:v>
                </c:pt>
                <c:pt idx="663">
                  <c:v>6.1812023041419523E-3</c:v>
                </c:pt>
                <c:pt idx="664">
                  <c:v>6.043202527007947E-3</c:v>
                </c:pt>
                <c:pt idx="665">
                  <c:v>6.1330730226669718E-3</c:v>
                </c:pt>
                <c:pt idx="666">
                  <c:v>6.2054527028524986E-3</c:v>
                </c:pt>
                <c:pt idx="667">
                  <c:v>6.4093583724588246E-3</c:v>
                </c:pt>
                <c:pt idx="668">
                  <c:v>6.5253075376079635E-3</c:v>
                </c:pt>
                <c:pt idx="669">
                  <c:v>6.5047964561746269E-3</c:v>
                </c:pt>
                <c:pt idx="670">
                  <c:v>6.6073532024190458E-3</c:v>
                </c:pt>
                <c:pt idx="671">
                  <c:v>6.5844769272947988E-3</c:v>
                </c:pt>
                <c:pt idx="672">
                  <c:v>6.5053635421656857E-3</c:v>
                </c:pt>
                <c:pt idx="673">
                  <c:v>6.8655824116603884E-3</c:v>
                </c:pt>
                <c:pt idx="674">
                  <c:v>7.0243853174001116E-3</c:v>
                </c:pt>
                <c:pt idx="675">
                  <c:v>6.8904349906697884E-3</c:v>
                </c:pt>
                <c:pt idx="676">
                  <c:v>7.1288883010123417E-3</c:v>
                </c:pt>
                <c:pt idx="677">
                  <c:v>6.9799336735859854E-3</c:v>
                </c:pt>
                <c:pt idx="678">
                  <c:v>6.9757944431142601E-3</c:v>
                </c:pt>
                <c:pt idx="679">
                  <c:v>7.5685771097585329E-3</c:v>
                </c:pt>
                <c:pt idx="680">
                  <c:v>7.7202039793922653E-3</c:v>
                </c:pt>
                <c:pt idx="681">
                  <c:v>7.8359182888664523E-3</c:v>
                </c:pt>
                <c:pt idx="682">
                  <c:v>8.6403099911127705E-3</c:v>
                </c:pt>
                <c:pt idx="683">
                  <c:v>8.7520431595980181E-3</c:v>
                </c:pt>
                <c:pt idx="684">
                  <c:v>8.7509814177671626E-3</c:v>
                </c:pt>
                <c:pt idx="685">
                  <c:v>8.8723742910334965E-3</c:v>
                </c:pt>
                <c:pt idx="686">
                  <c:v>8.8186983099609907E-3</c:v>
                </c:pt>
                <c:pt idx="687">
                  <c:v>8.7885594843800253E-3</c:v>
                </c:pt>
                <c:pt idx="688">
                  <c:v>8.6948046822956614E-3</c:v>
                </c:pt>
                <c:pt idx="689">
                  <c:v>8.5420359464032074E-3</c:v>
                </c:pt>
                <c:pt idx="690">
                  <c:v>8.3798898036781949E-3</c:v>
                </c:pt>
                <c:pt idx="691">
                  <c:v>8.3630005267792233E-3</c:v>
                </c:pt>
                <c:pt idx="692">
                  <c:v>8.3890993255851375E-3</c:v>
                </c:pt>
                <c:pt idx="693">
                  <c:v>8.2548913916503271E-3</c:v>
                </c:pt>
                <c:pt idx="694">
                  <c:v>8.3303896550544834E-3</c:v>
                </c:pt>
                <c:pt idx="695">
                  <c:v>8.404970005059173E-3</c:v>
                </c:pt>
                <c:pt idx="696">
                  <c:v>8.4205710393082858E-3</c:v>
                </c:pt>
                <c:pt idx="697">
                  <c:v>8.4201327915768148E-3</c:v>
                </c:pt>
                <c:pt idx="698">
                  <c:v>8.4264674252602541E-3</c:v>
                </c:pt>
                <c:pt idx="699">
                  <c:v>8.4251613169851469E-3</c:v>
                </c:pt>
                <c:pt idx="700">
                  <c:v>8.3851492975953804E-3</c:v>
                </c:pt>
                <c:pt idx="701">
                  <c:v>8.2859567399306781E-3</c:v>
                </c:pt>
                <c:pt idx="702">
                  <c:v>8.3002916977141031E-3</c:v>
                </c:pt>
                <c:pt idx="703">
                  <c:v>8.5504131794751984E-3</c:v>
                </c:pt>
                <c:pt idx="704">
                  <c:v>8.6345459711428662E-3</c:v>
                </c:pt>
                <c:pt idx="705">
                  <c:v>8.5673997313733784E-3</c:v>
                </c:pt>
                <c:pt idx="706">
                  <c:v>8.5055748737516475E-3</c:v>
                </c:pt>
                <c:pt idx="707">
                  <c:v>8.7470089849974036E-3</c:v>
                </c:pt>
                <c:pt idx="708">
                  <c:v>8.8960056619289112E-3</c:v>
                </c:pt>
                <c:pt idx="709">
                  <c:v>8.4278311418328304E-3</c:v>
                </c:pt>
                <c:pt idx="710">
                  <c:v>8.3079471812299611E-3</c:v>
                </c:pt>
                <c:pt idx="711">
                  <c:v>8.295942268315537E-3</c:v>
                </c:pt>
                <c:pt idx="712">
                  <c:v>7.0776911193232454E-3</c:v>
                </c:pt>
                <c:pt idx="713">
                  <c:v>6.9353531740618101E-3</c:v>
                </c:pt>
                <c:pt idx="714">
                  <c:v>6.9370083997777115E-3</c:v>
                </c:pt>
                <c:pt idx="715">
                  <c:v>6.9186491436903788E-3</c:v>
                </c:pt>
                <c:pt idx="716">
                  <c:v>6.9033928357672527E-3</c:v>
                </c:pt>
                <c:pt idx="717">
                  <c:v>6.8617111587265297E-3</c:v>
                </c:pt>
                <c:pt idx="718">
                  <c:v>7.0350420505987648E-3</c:v>
                </c:pt>
                <c:pt idx="719">
                  <c:v>7.0253699684097275E-3</c:v>
                </c:pt>
                <c:pt idx="720">
                  <c:v>7.0876552398286882E-3</c:v>
                </c:pt>
                <c:pt idx="721">
                  <c:v>7.0279545767555022E-3</c:v>
                </c:pt>
                <c:pt idx="722">
                  <c:v>6.9987685281220754E-3</c:v>
                </c:pt>
                <c:pt idx="723">
                  <c:v>6.9893884793139965E-3</c:v>
                </c:pt>
                <c:pt idx="724">
                  <c:v>6.9905360713343623E-3</c:v>
                </c:pt>
                <c:pt idx="725">
                  <c:v>6.9789083134856452E-3</c:v>
                </c:pt>
                <c:pt idx="726">
                  <c:v>7.0157199870307038E-3</c:v>
                </c:pt>
                <c:pt idx="727">
                  <c:v>7.7895535087796662E-3</c:v>
                </c:pt>
                <c:pt idx="728">
                  <c:v>7.6897343975808408E-3</c:v>
                </c:pt>
                <c:pt idx="729">
                  <c:v>8.0606480069375184E-3</c:v>
                </c:pt>
                <c:pt idx="730">
                  <c:v>8.157379512204025E-3</c:v>
                </c:pt>
                <c:pt idx="731">
                  <c:v>8.1965291987038131E-3</c:v>
                </c:pt>
                <c:pt idx="732">
                  <c:v>8.1843693400202415E-3</c:v>
                </c:pt>
                <c:pt idx="733">
                  <c:v>7.6646295480305663E-3</c:v>
                </c:pt>
                <c:pt idx="734">
                  <c:v>7.5876436848507697E-3</c:v>
                </c:pt>
                <c:pt idx="735">
                  <c:v>7.5626375994250162E-3</c:v>
                </c:pt>
                <c:pt idx="736">
                  <c:v>7.5295893126106446E-3</c:v>
                </c:pt>
                <c:pt idx="737">
                  <c:v>7.220568562349451E-3</c:v>
                </c:pt>
                <c:pt idx="738">
                  <c:v>7.1340608633088283E-3</c:v>
                </c:pt>
                <c:pt idx="739">
                  <c:v>7.0302455619427121E-3</c:v>
                </c:pt>
                <c:pt idx="740">
                  <c:v>7.1421778595080363E-3</c:v>
                </c:pt>
                <c:pt idx="741">
                  <c:v>6.9749602415063909E-3</c:v>
                </c:pt>
                <c:pt idx="742">
                  <c:v>6.9452354809139798E-3</c:v>
                </c:pt>
                <c:pt idx="743">
                  <c:v>6.965783637574283E-3</c:v>
                </c:pt>
                <c:pt idx="744">
                  <c:v>7.05542207619856E-3</c:v>
                </c:pt>
                <c:pt idx="745">
                  <c:v>6.9880208649337541E-3</c:v>
                </c:pt>
                <c:pt idx="746">
                  <c:v>6.9654806409246775E-3</c:v>
                </c:pt>
                <c:pt idx="747">
                  <c:v>7.1637219724549409E-3</c:v>
                </c:pt>
                <c:pt idx="748">
                  <c:v>6.8755332945230254E-3</c:v>
                </c:pt>
                <c:pt idx="749">
                  <c:v>6.8270519636224576E-3</c:v>
                </c:pt>
                <c:pt idx="750">
                  <c:v>6.7769440919795221E-3</c:v>
                </c:pt>
                <c:pt idx="751">
                  <c:v>6.7458700329686774E-3</c:v>
                </c:pt>
                <c:pt idx="752">
                  <c:v>6.7204644502416623E-3</c:v>
                </c:pt>
                <c:pt idx="753">
                  <c:v>6.7224939411257983E-3</c:v>
                </c:pt>
                <c:pt idx="754">
                  <c:v>7.0112954717598897E-3</c:v>
                </c:pt>
                <c:pt idx="755">
                  <c:v>7.0908539439068132E-3</c:v>
                </c:pt>
                <c:pt idx="756">
                  <c:v>6.9793127053469134E-3</c:v>
                </c:pt>
                <c:pt idx="757">
                  <c:v>5.8514132892537119E-3</c:v>
                </c:pt>
                <c:pt idx="758">
                  <c:v>5.7802562873211115E-3</c:v>
                </c:pt>
                <c:pt idx="759">
                  <c:v>5.2337465168335595E-3</c:v>
                </c:pt>
                <c:pt idx="760">
                  <c:v>5.1657125406288891E-3</c:v>
                </c:pt>
                <c:pt idx="761">
                  <c:v>5.0677758049724351E-3</c:v>
                </c:pt>
                <c:pt idx="762">
                  <c:v>7.5859788486756135E-3</c:v>
                </c:pt>
                <c:pt idx="763">
                  <c:v>7.5441749902878203E-3</c:v>
                </c:pt>
                <c:pt idx="764">
                  <c:v>7.4870186651397304E-3</c:v>
                </c:pt>
                <c:pt idx="765">
                  <c:v>7.4530471962899799E-3</c:v>
                </c:pt>
                <c:pt idx="766">
                  <c:v>7.3505302465343295E-3</c:v>
                </c:pt>
                <c:pt idx="767">
                  <c:v>7.1972139139481446E-3</c:v>
                </c:pt>
                <c:pt idx="768">
                  <c:v>7.147097137097152E-3</c:v>
                </c:pt>
                <c:pt idx="769">
                  <c:v>7.2516683455594016E-3</c:v>
                </c:pt>
                <c:pt idx="770">
                  <c:v>7.0988291450515819E-3</c:v>
                </c:pt>
                <c:pt idx="771">
                  <c:v>7.1532355848882862E-3</c:v>
                </c:pt>
                <c:pt idx="772">
                  <c:v>7.2377860165305482E-3</c:v>
                </c:pt>
                <c:pt idx="773">
                  <c:v>7.223460620356472E-3</c:v>
                </c:pt>
                <c:pt idx="774">
                  <c:v>7.0765532282831139E-3</c:v>
                </c:pt>
                <c:pt idx="775">
                  <c:v>7.2191212553806977E-3</c:v>
                </c:pt>
                <c:pt idx="776">
                  <c:v>7.2113642049882838E-3</c:v>
                </c:pt>
                <c:pt idx="777">
                  <c:v>7.1959907800801786E-3</c:v>
                </c:pt>
                <c:pt idx="778">
                  <c:v>7.2262929406678054E-3</c:v>
                </c:pt>
                <c:pt idx="779">
                  <c:v>8.6418744907446419E-3</c:v>
                </c:pt>
                <c:pt idx="780">
                  <c:v>8.6390055246642703E-3</c:v>
                </c:pt>
                <c:pt idx="781">
                  <c:v>8.6036770141679868E-3</c:v>
                </c:pt>
                <c:pt idx="782">
                  <c:v>8.7646660351353815E-3</c:v>
                </c:pt>
                <c:pt idx="783">
                  <c:v>8.8784372953051825E-3</c:v>
                </c:pt>
                <c:pt idx="784">
                  <c:v>8.7226048828168493E-3</c:v>
                </c:pt>
                <c:pt idx="785">
                  <c:v>8.7259120380209759E-3</c:v>
                </c:pt>
                <c:pt idx="786">
                  <c:v>8.8171494616891347E-3</c:v>
                </c:pt>
                <c:pt idx="787">
                  <c:v>8.8661567369438046E-3</c:v>
                </c:pt>
                <c:pt idx="788">
                  <c:v>8.8810091263910353E-3</c:v>
                </c:pt>
                <c:pt idx="789">
                  <c:v>8.9701415968732982E-3</c:v>
                </c:pt>
                <c:pt idx="790">
                  <c:v>8.9590991926583926E-3</c:v>
                </c:pt>
                <c:pt idx="791">
                  <c:v>9.0943686625175098E-3</c:v>
                </c:pt>
                <c:pt idx="792">
                  <c:v>7.4098633095044525E-3</c:v>
                </c:pt>
                <c:pt idx="793">
                  <c:v>7.4810064550179453E-3</c:v>
                </c:pt>
                <c:pt idx="794">
                  <c:v>7.6004174138548505E-3</c:v>
                </c:pt>
                <c:pt idx="795">
                  <c:v>7.5357682255759086E-3</c:v>
                </c:pt>
                <c:pt idx="796">
                  <c:v>7.5538386328033924E-3</c:v>
                </c:pt>
                <c:pt idx="797">
                  <c:v>8.2630067537827773E-3</c:v>
                </c:pt>
                <c:pt idx="798">
                  <c:v>8.3620092441237023E-3</c:v>
                </c:pt>
                <c:pt idx="799">
                  <c:v>8.9339901739463497E-3</c:v>
                </c:pt>
                <c:pt idx="800">
                  <c:v>9.0678419782641642E-3</c:v>
                </c:pt>
                <c:pt idx="801">
                  <c:v>9.0212520130357691E-3</c:v>
                </c:pt>
                <c:pt idx="802">
                  <c:v>8.9809479389965138E-3</c:v>
                </c:pt>
                <c:pt idx="803">
                  <c:v>8.9708360940949604E-3</c:v>
                </c:pt>
                <c:pt idx="804">
                  <c:v>9.0397054188387001E-3</c:v>
                </c:pt>
                <c:pt idx="805">
                  <c:v>8.9688238212283691E-3</c:v>
                </c:pt>
                <c:pt idx="806">
                  <c:v>9.0274688123604709E-3</c:v>
                </c:pt>
                <c:pt idx="807">
                  <c:v>8.9890374200185322E-3</c:v>
                </c:pt>
                <c:pt idx="808">
                  <c:v>8.8976635958379537E-3</c:v>
                </c:pt>
                <c:pt idx="809">
                  <c:v>7.5872626327751456E-3</c:v>
                </c:pt>
                <c:pt idx="810">
                  <c:v>7.7167308514943253E-3</c:v>
                </c:pt>
                <c:pt idx="811">
                  <c:v>7.7127281322537187E-3</c:v>
                </c:pt>
                <c:pt idx="812">
                  <c:v>7.4704020192434065E-3</c:v>
                </c:pt>
                <c:pt idx="813">
                  <c:v>7.3706653193184729E-3</c:v>
                </c:pt>
                <c:pt idx="814">
                  <c:v>7.3974047742390251E-3</c:v>
                </c:pt>
                <c:pt idx="815">
                  <c:v>7.2689071378705863E-3</c:v>
                </c:pt>
                <c:pt idx="816">
                  <c:v>7.2730588137947813E-3</c:v>
                </c:pt>
                <c:pt idx="817">
                  <c:v>7.3584353479164023E-3</c:v>
                </c:pt>
                <c:pt idx="818">
                  <c:v>7.3754057269399794E-3</c:v>
                </c:pt>
                <c:pt idx="819">
                  <c:v>7.2327655668964104E-3</c:v>
                </c:pt>
                <c:pt idx="820">
                  <c:v>7.2696400310073789E-3</c:v>
                </c:pt>
                <c:pt idx="821">
                  <c:v>7.1596624048590029E-3</c:v>
                </c:pt>
                <c:pt idx="822">
                  <c:v>7.1759969375319718E-3</c:v>
                </c:pt>
                <c:pt idx="823">
                  <c:v>7.1479480070972528E-3</c:v>
                </c:pt>
                <c:pt idx="824">
                  <c:v>7.0135852121836042E-3</c:v>
                </c:pt>
                <c:pt idx="825">
                  <c:v>6.9780905194269625E-3</c:v>
                </c:pt>
                <c:pt idx="826">
                  <c:v>7.0848180584439212E-3</c:v>
                </c:pt>
                <c:pt idx="827">
                  <c:v>6.2348391372904783E-3</c:v>
                </c:pt>
                <c:pt idx="828">
                  <c:v>6.1767580315821588E-3</c:v>
                </c:pt>
                <c:pt idx="829">
                  <c:v>4.6176769359804852E-3</c:v>
                </c:pt>
                <c:pt idx="830">
                  <c:v>5.0839884355246045E-3</c:v>
                </c:pt>
                <c:pt idx="831">
                  <c:v>5.0784473897367002E-3</c:v>
                </c:pt>
                <c:pt idx="832">
                  <c:v>5.0993441572544738E-3</c:v>
                </c:pt>
                <c:pt idx="833">
                  <c:v>5.1017518211639691E-3</c:v>
                </c:pt>
                <c:pt idx="834">
                  <c:v>5.0985159362687193E-3</c:v>
                </c:pt>
                <c:pt idx="835">
                  <c:v>5.0716309279690711E-3</c:v>
                </c:pt>
                <c:pt idx="836">
                  <c:v>5.1848577833837946E-3</c:v>
                </c:pt>
                <c:pt idx="837">
                  <c:v>5.773811268075346E-3</c:v>
                </c:pt>
                <c:pt idx="838">
                  <c:v>5.7787093930014499E-3</c:v>
                </c:pt>
                <c:pt idx="839">
                  <c:v>5.6244958999270905E-3</c:v>
                </c:pt>
                <c:pt idx="840">
                  <c:v>5.513197234070082E-3</c:v>
                </c:pt>
                <c:pt idx="841">
                  <c:v>5.729268071129918E-3</c:v>
                </c:pt>
                <c:pt idx="842">
                  <c:v>5.8549995979209225E-3</c:v>
                </c:pt>
                <c:pt idx="843">
                  <c:v>6.2079888509716978E-3</c:v>
                </c:pt>
                <c:pt idx="844">
                  <c:v>6.1537699577239053E-3</c:v>
                </c:pt>
                <c:pt idx="845">
                  <c:v>6.2760249281738926E-3</c:v>
                </c:pt>
                <c:pt idx="846">
                  <c:v>6.1595079999922286E-3</c:v>
                </c:pt>
                <c:pt idx="847">
                  <c:v>6.0872713220122459E-3</c:v>
                </c:pt>
                <c:pt idx="848">
                  <c:v>6.1425631398417313E-3</c:v>
                </c:pt>
                <c:pt idx="849">
                  <c:v>6.2612150035313988E-3</c:v>
                </c:pt>
                <c:pt idx="850">
                  <c:v>6.3967536697296457E-3</c:v>
                </c:pt>
                <c:pt idx="851">
                  <c:v>6.3973245139867024E-3</c:v>
                </c:pt>
                <c:pt idx="852">
                  <c:v>6.4290860481490868E-3</c:v>
                </c:pt>
                <c:pt idx="853">
                  <c:v>6.4338362373376028E-3</c:v>
                </c:pt>
                <c:pt idx="854">
                  <c:v>6.5466742394210851E-3</c:v>
                </c:pt>
                <c:pt idx="855">
                  <c:v>6.7361334814310834E-3</c:v>
                </c:pt>
                <c:pt idx="856">
                  <c:v>6.7223402345582203E-3</c:v>
                </c:pt>
                <c:pt idx="857">
                  <c:v>6.8774307575512044E-3</c:v>
                </c:pt>
                <c:pt idx="858">
                  <c:v>6.8800028722709218E-3</c:v>
                </c:pt>
                <c:pt idx="859">
                  <c:v>6.9012255524649249E-3</c:v>
                </c:pt>
                <c:pt idx="860">
                  <c:v>6.5355654526118769E-3</c:v>
                </c:pt>
                <c:pt idx="861">
                  <c:v>6.4676588221098475E-3</c:v>
                </c:pt>
                <c:pt idx="862">
                  <c:v>6.6783522620447715E-3</c:v>
                </c:pt>
                <c:pt idx="863">
                  <c:v>6.7175992970696652E-3</c:v>
                </c:pt>
                <c:pt idx="864">
                  <c:v>6.6767995146464259E-3</c:v>
                </c:pt>
                <c:pt idx="865">
                  <c:v>6.7592382413725199E-3</c:v>
                </c:pt>
                <c:pt idx="866">
                  <c:v>6.7485543106023775E-3</c:v>
                </c:pt>
                <c:pt idx="867">
                  <c:v>6.3315945279276142E-3</c:v>
                </c:pt>
                <c:pt idx="868">
                  <c:v>6.4199462823637315E-3</c:v>
                </c:pt>
                <c:pt idx="869">
                  <c:v>6.5112559243454462E-3</c:v>
                </c:pt>
                <c:pt idx="870">
                  <c:v>6.5098316359032612E-3</c:v>
                </c:pt>
                <c:pt idx="871">
                  <c:v>6.3221110265024253E-3</c:v>
                </c:pt>
                <c:pt idx="872">
                  <c:v>6.2867297703236283E-3</c:v>
                </c:pt>
                <c:pt idx="873">
                  <c:v>5.7702596181099589E-3</c:v>
                </c:pt>
                <c:pt idx="874">
                  <c:v>5.7720655794352366E-3</c:v>
                </c:pt>
                <c:pt idx="875">
                  <c:v>5.704703639218758E-3</c:v>
                </c:pt>
                <c:pt idx="876">
                  <c:v>6.362954983272366E-3</c:v>
                </c:pt>
                <c:pt idx="877">
                  <c:v>6.3488956663240014E-3</c:v>
                </c:pt>
                <c:pt idx="878">
                  <c:v>6.3511671064570728E-3</c:v>
                </c:pt>
                <c:pt idx="879">
                  <c:v>6.4163902348032082E-3</c:v>
                </c:pt>
                <c:pt idx="880">
                  <c:v>6.3311013382056497E-3</c:v>
                </c:pt>
                <c:pt idx="881">
                  <c:v>6.4024435452713479E-3</c:v>
                </c:pt>
                <c:pt idx="882">
                  <c:v>6.4255222969471825E-3</c:v>
                </c:pt>
                <c:pt idx="883">
                  <c:v>6.4240625203510898E-3</c:v>
                </c:pt>
                <c:pt idx="884">
                  <c:v>6.3704464005696878E-3</c:v>
                </c:pt>
                <c:pt idx="885">
                  <c:v>6.2351245929605269E-3</c:v>
                </c:pt>
                <c:pt idx="886">
                  <c:v>6.2046775527535422E-3</c:v>
                </c:pt>
                <c:pt idx="887">
                  <c:v>5.8707288682344483E-3</c:v>
                </c:pt>
                <c:pt idx="888">
                  <c:v>5.8498672051627417E-3</c:v>
                </c:pt>
                <c:pt idx="889">
                  <c:v>5.8967042269792063E-3</c:v>
                </c:pt>
                <c:pt idx="890">
                  <c:v>6.0923208625263472E-3</c:v>
                </c:pt>
                <c:pt idx="891">
                  <c:v>6.1609217551281039E-3</c:v>
                </c:pt>
                <c:pt idx="892">
                  <c:v>5.8118297733435811E-3</c:v>
                </c:pt>
                <c:pt idx="893">
                  <c:v>6.1048302203566595E-3</c:v>
                </c:pt>
                <c:pt idx="894">
                  <c:v>6.0645216281073246E-3</c:v>
                </c:pt>
                <c:pt idx="895">
                  <c:v>6.0897601614041856E-3</c:v>
                </c:pt>
                <c:pt idx="896">
                  <c:v>6.1140563814800755E-3</c:v>
                </c:pt>
                <c:pt idx="897">
                  <c:v>6.1080720668812011E-3</c:v>
                </c:pt>
                <c:pt idx="898">
                  <c:v>6.5981304876006688E-3</c:v>
                </c:pt>
                <c:pt idx="899">
                  <c:v>6.5289931898113241E-3</c:v>
                </c:pt>
                <c:pt idx="900">
                  <c:v>6.5382776968451461E-3</c:v>
                </c:pt>
                <c:pt idx="901">
                  <c:v>6.449837582929171E-3</c:v>
                </c:pt>
                <c:pt idx="902">
                  <c:v>6.7516728690075658E-3</c:v>
                </c:pt>
                <c:pt idx="903">
                  <c:v>6.7963969861771232E-3</c:v>
                </c:pt>
                <c:pt idx="904">
                  <c:v>7.0985310555329523E-3</c:v>
                </c:pt>
                <c:pt idx="905">
                  <c:v>7.1753916679989996E-3</c:v>
                </c:pt>
                <c:pt idx="906">
                  <c:v>6.4589873807470244E-3</c:v>
                </c:pt>
                <c:pt idx="907">
                  <c:v>6.5070917957892284E-3</c:v>
                </c:pt>
                <c:pt idx="908">
                  <c:v>6.5705082962064822E-3</c:v>
                </c:pt>
                <c:pt idx="909">
                  <c:v>6.4995332514511525E-3</c:v>
                </c:pt>
                <c:pt idx="910">
                  <c:v>6.3790763857508748E-3</c:v>
                </c:pt>
                <c:pt idx="911">
                  <c:v>6.3494043907780864E-3</c:v>
                </c:pt>
                <c:pt idx="912">
                  <c:v>6.4983425416553307E-3</c:v>
                </c:pt>
                <c:pt idx="913">
                  <c:v>6.4891996508422813E-3</c:v>
                </c:pt>
                <c:pt idx="914">
                  <c:v>6.5279887379832858E-3</c:v>
                </c:pt>
                <c:pt idx="915">
                  <c:v>6.5198307482677281E-3</c:v>
                </c:pt>
                <c:pt idx="916">
                  <c:v>6.5672541239923795E-3</c:v>
                </c:pt>
                <c:pt idx="917">
                  <c:v>6.6219383593313285E-3</c:v>
                </c:pt>
                <c:pt idx="918">
                  <c:v>6.4987153966390709E-3</c:v>
                </c:pt>
                <c:pt idx="919">
                  <c:v>6.4419001964693672E-3</c:v>
                </c:pt>
                <c:pt idx="920">
                  <c:v>6.3800097786566841E-3</c:v>
                </c:pt>
                <c:pt idx="921">
                  <c:v>6.288383442049769E-3</c:v>
                </c:pt>
                <c:pt idx="922">
                  <c:v>6.3275207683947789E-3</c:v>
                </c:pt>
                <c:pt idx="923">
                  <c:v>6.1771113445056418E-3</c:v>
                </c:pt>
                <c:pt idx="924">
                  <c:v>6.0687468797787783E-3</c:v>
                </c:pt>
                <c:pt idx="925">
                  <c:v>6.1539774715730451E-3</c:v>
                </c:pt>
                <c:pt idx="926">
                  <c:v>6.1662552935970042E-3</c:v>
                </c:pt>
                <c:pt idx="927">
                  <c:v>6.1730074000375936E-3</c:v>
                </c:pt>
                <c:pt idx="928">
                  <c:v>5.8134757184866558E-3</c:v>
                </c:pt>
                <c:pt idx="929">
                  <c:v>5.946125142277112E-3</c:v>
                </c:pt>
                <c:pt idx="930">
                  <c:v>5.9219560145656021E-3</c:v>
                </c:pt>
                <c:pt idx="931">
                  <c:v>6.0178770995893884E-3</c:v>
                </c:pt>
                <c:pt idx="932">
                  <c:v>5.7787779800019924E-3</c:v>
                </c:pt>
                <c:pt idx="933">
                  <c:v>5.8216332943100604E-3</c:v>
                </c:pt>
                <c:pt idx="934">
                  <c:v>5.4271560107495764E-3</c:v>
                </c:pt>
                <c:pt idx="935">
                  <c:v>5.4536642707090511E-3</c:v>
                </c:pt>
                <c:pt idx="936">
                  <c:v>5.470759059392238E-3</c:v>
                </c:pt>
                <c:pt idx="937">
                  <c:v>5.3987788089931875E-3</c:v>
                </c:pt>
                <c:pt idx="938">
                  <c:v>5.2375947942180203E-3</c:v>
                </c:pt>
                <c:pt idx="939">
                  <c:v>5.1461163271729971E-3</c:v>
                </c:pt>
                <c:pt idx="940">
                  <c:v>5.1072790449085224E-3</c:v>
                </c:pt>
                <c:pt idx="941">
                  <c:v>4.9725665537925356E-3</c:v>
                </c:pt>
                <c:pt idx="942">
                  <c:v>4.8633498292619719E-3</c:v>
                </c:pt>
                <c:pt idx="943">
                  <c:v>4.8696203482245098E-3</c:v>
                </c:pt>
                <c:pt idx="944">
                  <c:v>4.7201281923888554E-3</c:v>
                </c:pt>
                <c:pt idx="945">
                  <c:v>4.4947731717497252E-3</c:v>
                </c:pt>
                <c:pt idx="946">
                  <c:v>4.4567620250155794E-3</c:v>
                </c:pt>
                <c:pt idx="947">
                  <c:v>4.5725473889303824E-3</c:v>
                </c:pt>
                <c:pt idx="948">
                  <c:v>4.6070170928645508E-3</c:v>
                </c:pt>
                <c:pt idx="949">
                  <c:v>4.3945985703717034E-3</c:v>
                </c:pt>
                <c:pt idx="950">
                  <c:v>4.3924691051648781E-3</c:v>
                </c:pt>
                <c:pt idx="951">
                  <c:v>5.5156863208212364E-3</c:v>
                </c:pt>
                <c:pt idx="952">
                  <c:v>5.5866172018385332E-3</c:v>
                </c:pt>
                <c:pt idx="953">
                  <c:v>5.7364706732040771E-3</c:v>
                </c:pt>
                <c:pt idx="954">
                  <c:v>5.8060606124999943E-3</c:v>
                </c:pt>
                <c:pt idx="955">
                  <c:v>5.6485083182016517E-3</c:v>
                </c:pt>
                <c:pt idx="956">
                  <c:v>5.5784526658718761E-3</c:v>
                </c:pt>
                <c:pt idx="957">
                  <c:v>5.3226454989788678E-3</c:v>
                </c:pt>
                <c:pt idx="958">
                  <c:v>5.2804080042441392E-3</c:v>
                </c:pt>
                <c:pt idx="959">
                  <c:v>5.0468729295349273E-3</c:v>
                </c:pt>
                <c:pt idx="960">
                  <c:v>5.0536493858417669E-3</c:v>
                </c:pt>
                <c:pt idx="961">
                  <c:v>5.0052066037616647E-3</c:v>
                </c:pt>
                <c:pt idx="962">
                  <c:v>4.9492385470779115E-3</c:v>
                </c:pt>
                <c:pt idx="963">
                  <c:v>4.8804580977059959E-3</c:v>
                </c:pt>
                <c:pt idx="964">
                  <c:v>5.6718209839880752E-3</c:v>
                </c:pt>
                <c:pt idx="965">
                  <c:v>5.6343834225239002E-3</c:v>
                </c:pt>
                <c:pt idx="966">
                  <c:v>5.6481636607220477E-3</c:v>
                </c:pt>
                <c:pt idx="967">
                  <c:v>5.6727113266149013E-3</c:v>
                </c:pt>
                <c:pt idx="968">
                  <c:v>5.6930309281641384E-3</c:v>
                </c:pt>
                <c:pt idx="969">
                  <c:v>5.6996666509797206E-3</c:v>
                </c:pt>
                <c:pt idx="970">
                  <c:v>5.7279729973610891E-3</c:v>
                </c:pt>
                <c:pt idx="971">
                  <c:v>5.7351873315989489E-3</c:v>
                </c:pt>
                <c:pt idx="972">
                  <c:v>5.8062672824438413E-3</c:v>
                </c:pt>
                <c:pt idx="973">
                  <c:v>5.8581633219005353E-3</c:v>
                </c:pt>
                <c:pt idx="974">
                  <c:v>5.8282239477694614E-3</c:v>
                </c:pt>
                <c:pt idx="975">
                  <c:v>5.9706537975478518E-3</c:v>
                </c:pt>
                <c:pt idx="976">
                  <c:v>5.9861568507064101E-3</c:v>
                </c:pt>
                <c:pt idx="977">
                  <c:v>5.9352382544851879E-3</c:v>
                </c:pt>
                <c:pt idx="978">
                  <c:v>6.0920449215937558E-3</c:v>
                </c:pt>
                <c:pt idx="979">
                  <c:v>6.130901715144613E-3</c:v>
                </c:pt>
                <c:pt idx="980">
                  <c:v>6.1317043274019996E-3</c:v>
                </c:pt>
                <c:pt idx="981">
                  <c:v>5.2377297921810048E-3</c:v>
                </c:pt>
                <c:pt idx="982">
                  <c:v>5.2002165105932861E-3</c:v>
                </c:pt>
                <c:pt idx="983">
                  <c:v>5.0200580243463886E-3</c:v>
                </c:pt>
                <c:pt idx="984">
                  <c:v>4.9468472415377732E-3</c:v>
                </c:pt>
                <c:pt idx="985">
                  <c:v>4.9246461170355691E-3</c:v>
                </c:pt>
                <c:pt idx="986">
                  <c:v>4.9350062420719714E-3</c:v>
                </c:pt>
                <c:pt idx="987">
                  <c:v>4.9182701482441459E-3</c:v>
                </c:pt>
                <c:pt idx="988">
                  <c:v>5.45585828247434E-3</c:v>
                </c:pt>
                <c:pt idx="989">
                  <c:v>5.3590503330997012E-3</c:v>
                </c:pt>
                <c:pt idx="990">
                  <c:v>5.333055072060707E-3</c:v>
                </c:pt>
                <c:pt idx="991">
                  <c:v>5.3231964104588914E-3</c:v>
                </c:pt>
                <c:pt idx="992">
                  <c:v>5.5100426874572202E-3</c:v>
                </c:pt>
                <c:pt idx="993">
                  <c:v>5.5314136755957814E-3</c:v>
                </c:pt>
                <c:pt idx="994">
                  <c:v>5.0444113535420224E-3</c:v>
                </c:pt>
                <c:pt idx="995">
                  <c:v>5.0416172887935646E-3</c:v>
                </c:pt>
                <c:pt idx="996">
                  <c:v>5.0625303329768006E-3</c:v>
                </c:pt>
                <c:pt idx="997">
                  <c:v>5.2084122052178574E-3</c:v>
                </c:pt>
                <c:pt idx="998">
                  <c:v>5.2332532041372871E-3</c:v>
                </c:pt>
                <c:pt idx="999">
                  <c:v>5.41385752832289E-3</c:v>
                </c:pt>
                <c:pt idx="1000">
                  <c:v>5.5465190285353908E-3</c:v>
                </c:pt>
                <c:pt idx="1001">
                  <c:v>5.4284675081250613E-3</c:v>
                </c:pt>
                <c:pt idx="1002">
                  <c:v>5.2892897027256415E-3</c:v>
                </c:pt>
                <c:pt idx="1003">
                  <c:v>5.4240670110124491E-3</c:v>
                </c:pt>
                <c:pt idx="1004">
                  <c:v>5.4044657688754561E-3</c:v>
                </c:pt>
                <c:pt idx="1005">
                  <c:v>5.3299334138485277E-3</c:v>
                </c:pt>
                <c:pt idx="1006">
                  <c:v>5.1515337112221721E-3</c:v>
                </c:pt>
                <c:pt idx="1007">
                  <c:v>5.038221081538191E-3</c:v>
                </c:pt>
                <c:pt idx="1008">
                  <c:v>5.0350945949173579E-3</c:v>
                </c:pt>
                <c:pt idx="1009">
                  <c:v>5.0345993140377115E-3</c:v>
                </c:pt>
                <c:pt idx="1010">
                  <c:v>4.8951573414800316E-3</c:v>
                </c:pt>
                <c:pt idx="1011">
                  <c:v>4.8975102346297513E-3</c:v>
                </c:pt>
                <c:pt idx="1012">
                  <c:v>4.8947733078754082E-3</c:v>
                </c:pt>
                <c:pt idx="1013">
                  <c:v>4.8303140661028181E-3</c:v>
                </c:pt>
                <c:pt idx="1014">
                  <c:v>4.8256775461405421E-3</c:v>
                </c:pt>
                <c:pt idx="1015">
                  <c:v>4.8900265129396929E-3</c:v>
                </c:pt>
                <c:pt idx="1016">
                  <c:v>4.8827474190027143E-3</c:v>
                </c:pt>
                <c:pt idx="1017">
                  <c:v>4.5129250178315306E-3</c:v>
                </c:pt>
                <c:pt idx="1018">
                  <c:v>4.6260584149459636E-3</c:v>
                </c:pt>
                <c:pt idx="1019">
                  <c:v>4.7864214261394049E-3</c:v>
                </c:pt>
                <c:pt idx="1020">
                  <c:v>5.1084493409893766E-3</c:v>
                </c:pt>
                <c:pt idx="1021">
                  <c:v>4.9708057889251665E-3</c:v>
                </c:pt>
                <c:pt idx="1022">
                  <c:v>5.7894861704386406E-3</c:v>
                </c:pt>
                <c:pt idx="1023">
                  <c:v>5.7783412564157343E-3</c:v>
                </c:pt>
                <c:pt idx="1024">
                  <c:v>6.7668200448506759E-3</c:v>
                </c:pt>
                <c:pt idx="1025">
                  <c:v>6.7419026001626185E-3</c:v>
                </c:pt>
                <c:pt idx="1026">
                  <c:v>6.744390866510519E-3</c:v>
                </c:pt>
                <c:pt idx="1027">
                  <c:v>6.7552766616238323E-3</c:v>
                </c:pt>
                <c:pt idx="1028">
                  <c:v>6.7161539750895359E-3</c:v>
                </c:pt>
                <c:pt idx="1029">
                  <c:v>6.9676048272220075E-3</c:v>
                </c:pt>
                <c:pt idx="1030">
                  <c:v>6.8265567731583907E-3</c:v>
                </c:pt>
                <c:pt idx="1031">
                  <c:v>6.7882578262255747E-3</c:v>
                </c:pt>
                <c:pt idx="1032">
                  <c:v>6.8787472745541443E-3</c:v>
                </c:pt>
                <c:pt idx="1033">
                  <c:v>6.8175280914657393E-3</c:v>
                </c:pt>
                <c:pt idx="1034">
                  <c:v>6.7765437971396792E-3</c:v>
                </c:pt>
                <c:pt idx="1035">
                  <c:v>6.8128362129627838E-3</c:v>
                </c:pt>
                <c:pt idx="1036">
                  <c:v>6.9623674925096621E-3</c:v>
                </c:pt>
                <c:pt idx="1037">
                  <c:v>7.1281281458415308E-3</c:v>
                </c:pt>
                <c:pt idx="1038">
                  <c:v>7.0280727307400238E-3</c:v>
                </c:pt>
                <c:pt idx="1039">
                  <c:v>6.9899375258654344E-3</c:v>
                </c:pt>
                <c:pt idx="1040">
                  <c:v>7.0285301275362254E-3</c:v>
                </c:pt>
                <c:pt idx="1041">
                  <c:v>7.0788502650102145E-3</c:v>
                </c:pt>
                <c:pt idx="1042">
                  <c:v>7.0983579048294609E-3</c:v>
                </c:pt>
                <c:pt idx="1043">
                  <c:v>7.1276498352236808E-3</c:v>
                </c:pt>
                <c:pt idx="1044">
                  <c:v>7.124619341133843E-3</c:v>
                </c:pt>
                <c:pt idx="1045">
                  <c:v>7.2368605939621463E-3</c:v>
                </c:pt>
                <c:pt idx="1046">
                  <c:v>7.2293808547307051E-3</c:v>
                </c:pt>
                <c:pt idx="1047">
                  <c:v>7.2874333921046433E-3</c:v>
                </c:pt>
                <c:pt idx="1048">
                  <c:v>7.6170828875007663E-3</c:v>
                </c:pt>
                <c:pt idx="1049">
                  <c:v>7.4973083047493788E-3</c:v>
                </c:pt>
                <c:pt idx="1050">
                  <c:v>7.5103802130120426E-3</c:v>
                </c:pt>
                <c:pt idx="1051">
                  <c:v>7.6614961155149928E-3</c:v>
                </c:pt>
                <c:pt idx="1052">
                  <c:v>7.2101880881869571E-3</c:v>
                </c:pt>
                <c:pt idx="1053">
                  <c:v>7.0994435228883771E-3</c:v>
                </c:pt>
                <c:pt idx="1054">
                  <c:v>6.4591871389211757E-3</c:v>
                </c:pt>
                <c:pt idx="1055">
                  <c:v>6.4574526533562248E-3</c:v>
                </c:pt>
                <c:pt idx="1056">
                  <c:v>6.4053932140527717E-3</c:v>
                </c:pt>
                <c:pt idx="1057">
                  <c:v>6.6869896749754791E-3</c:v>
                </c:pt>
                <c:pt idx="1058">
                  <c:v>6.8534217040192831E-3</c:v>
                </c:pt>
                <c:pt idx="1059">
                  <c:v>6.5893036127282704E-3</c:v>
                </c:pt>
                <c:pt idx="1060">
                  <c:v>6.5421998691516468E-3</c:v>
                </c:pt>
                <c:pt idx="1061">
                  <c:v>6.6195481176045635E-3</c:v>
                </c:pt>
                <c:pt idx="1062">
                  <c:v>6.4816228738055108E-3</c:v>
                </c:pt>
                <c:pt idx="1063">
                  <c:v>6.484871571749211E-3</c:v>
                </c:pt>
                <c:pt idx="1064">
                  <c:v>6.4956435023453881E-3</c:v>
                </c:pt>
                <c:pt idx="1065">
                  <c:v>6.4705562529807957E-3</c:v>
                </c:pt>
                <c:pt idx="1066">
                  <c:v>6.3517824857614756E-3</c:v>
                </c:pt>
                <c:pt idx="1067">
                  <c:v>6.1870162474862113E-3</c:v>
                </c:pt>
                <c:pt idx="1068">
                  <c:v>6.2002976026837228E-3</c:v>
                </c:pt>
                <c:pt idx="1069">
                  <c:v>6.2376040163396639E-3</c:v>
                </c:pt>
                <c:pt idx="1070">
                  <c:v>6.2200757777637885E-3</c:v>
                </c:pt>
                <c:pt idx="1071">
                  <c:v>6.1903805624421125E-3</c:v>
                </c:pt>
                <c:pt idx="1072">
                  <c:v>6.2461486095535318E-3</c:v>
                </c:pt>
                <c:pt idx="1073">
                  <c:v>6.3912095729504893E-3</c:v>
                </c:pt>
                <c:pt idx="1074">
                  <c:v>6.5545048077376867E-3</c:v>
                </c:pt>
                <c:pt idx="1075">
                  <c:v>6.4160202151382706E-3</c:v>
                </c:pt>
                <c:pt idx="1076">
                  <c:v>6.756867827150694E-3</c:v>
                </c:pt>
                <c:pt idx="1077">
                  <c:v>6.6907735559054056E-3</c:v>
                </c:pt>
                <c:pt idx="1078">
                  <c:v>6.3850123875727333E-3</c:v>
                </c:pt>
                <c:pt idx="1079">
                  <c:v>6.3172781997055715E-3</c:v>
                </c:pt>
                <c:pt idx="1080">
                  <c:v>6.2108115305410175E-3</c:v>
                </c:pt>
                <c:pt idx="1081">
                  <c:v>6.3296367448445077E-3</c:v>
                </c:pt>
                <c:pt idx="1082">
                  <c:v>6.3408203707806489E-3</c:v>
                </c:pt>
                <c:pt idx="1083">
                  <c:v>6.6187282068149601E-3</c:v>
                </c:pt>
                <c:pt idx="1084">
                  <c:v>6.4856592143446353E-3</c:v>
                </c:pt>
                <c:pt idx="1085">
                  <c:v>6.5496135631332893E-3</c:v>
                </c:pt>
                <c:pt idx="1086">
                  <c:v>6.5949719782369305E-3</c:v>
                </c:pt>
                <c:pt idx="1087">
                  <c:v>6.4385375276648782E-3</c:v>
                </c:pt>
                <c:pt idx="1088">
                  <c:v>6.2621648070310997E-3</c:v>
                </c:pt>
                <c:pt idx="1089">
                  <c:v>6.2146414377876836E-3</c:v>
                </c:pt>
                <c:pt idx="1090">
                  <c:v>6.2054318013763073E-3</c:v>
                </c:pt>
                <c:pt idx="1091">
                  <c:v>6.2368966682267227E-3</c:v>
                </c:pt>
                <c:pt idx="1092">
                  <c:v>6.4486794558359459E-3</c:v>
                </c:pt>
                <c:pt idx="1093">
                  <c:v>6.6291997112369588E-3</c:v>
                </c:pt>
                <c:pt idx="1094">
                  <c:v>6.6439291905095272E-3</c:v>
                </c:pt>
                <c:pt idx="1095">
                  <c:v>6.604176394809709E-3</c:v>
                </c:pt>
                <c:pt idx="1096">
                  <c:v>6.6204656225176484E-3</c:v>
                </c:pt>
                <c:pt idx="1097">
                  <c:v>6.7646331289519454E-3</c:v>
                </c:pt>
                <c:pt idx="1098">
                  <c:v>6.6717148192528336E-3</c:v>
                </c:pt>
                <c:pt idx="1099">
                  <c:v>6.8601417110042478E-3</c:v>
                </c:pt>
                <c:pt idx="1100">
                  <c:v>6.9656735161942101E-3</c:v>
                </c:pt>
                <c:pt idx="1101">
                  <c:v>6.9620667660181329E-3</c:v>
                </c:pt>
                <c:pt idx="1102">
                  <c:v>7.0759416927694257E-3</c:v>
                </c:pt>
                <c:pt idx="1103">
                  <c:v>6.8987531935096186E-3</c:v>
                </c:pt>
                <c:pt idx="1104">
                  <c:v>6.7541855627629276E-3</c:v>
                </c:pt>
                <c:pt idx="1105">
                  <c:v>6.7143917141648749E-3</c:v>
                </c:pt>
                <c:pt idx="1106">
                  <c:v>6.2903282765087313E-3</c:v>
                </c:pt>
                <c:pt idx="1107">
                  <c:v>6.2807717758492192E-3</c:v>
                </c:pt>
                <c:pt idx="1108">
                  <c:v>6.1246150587447278E-3</c:v>
                </c:pt>
                <c:pt idx="1109">
                  <c:v>6.1271436880561084E-3</c:v>
                </c:pt>
                <c:pt idx="1110">
                  <c:v>6.0490716082735856E-3</c:v>
                </c:pt>
                <c:pt idx="1111">
                  <c:v>5.6461124276513857E-3</c:v>
                </c:pt>
                <c:pt idx="1112">
                  <c:v>5.585947212771716E-3</c:v>
                </c:pt>
                <c:pt idx="1113">
                  <c:v>5.0882098150385104E-3</c:v>
                </c:pt>
                <c:pt idx="1114">
                  <c:v>5.0794898808290741E-3</c:v>
                </c:pt>
                <c:pt idx="1115">
                  <c:v>5.0896778379707153E-3</c:v>
                </c:pt>
                <c:pt idx="1116">
                  <c:v>4.9670829584451013E-3</c:v>
                </c:pt>
                <c:pt idx="1117">
                  <c:v>4.8058358321783415E-3</c:v>
                </c:pt>
                <c:pt idx="1118">
                  <c:v>4.7965592870181468E-3</c:v>
                </c:pt>
                <c:pt idx="1119">
                  <c:v>4.8372566557343608E-3</c:v>
                </c:pt>
                <c:pt idx="1120">
                  <c:v>-2.3579601423793454E-3</c:v>
                </c:pt>
                <c:pt idx="1121">
                  <c:v>-5.1866173348620662E-3</c:v>
                </c:pt>
                <c:pt idx="1122">
                  <c:v>-7.6499910778676256E-3</c:v>
                </c:pt>
                <c:pt idx="1123">
                  <c:v>-9.4064954937745342E-3</c:v>
                </c:pt>
                <c:pt idx="1124">
                  <c:v>-1.0668653726811677E-2</c:v>
                </c:pt>
                <c:pt idx="1125">
                  <c:v>-1.1692738881638336E-2</c:v>
                </c:pt>
                <c:pt idx="1126">
                  <c:v>-1.2758276028660835E-2</c:v>
                </c:pt>
                <c:pt idx="1127">
                  <c:v>-1.3457943477437485E-2</c:v>
                </c:pt>
                <c:pt idx="1128">
                  <c:v>-1.3977580747609363E-2</c:v>
                </c:pt>
                <c:pt idx="1129">
                  <c:v>-1.4717022135094522E-2</c:v>
                </c:pt>
                <c:pt idx="1130">
                  <c:v>-1.5294511484329717E-2</c:v>
                </c:pt>
                <c:pt idx="1131">
                  <c:v>-1.5654884761571886E-2</c:v>
                </c:pt>
                <c:pt idx="1132">
                  <c:v>-1.6133951319288992E-2</c:v>
                </c:pt>
                <c:pt idx="1133">
                  <c:v>-1.6260664581734634E-2</c:v>
                </c:pt>
                <c:pt idx="1134">
                  <c:v>-1.6332281273731878E-2</c:v>
                </c:pt>
                <c:pt idx="1135">
                  <c:v>-1.6309859360385114E-2</c:v>
                </c:pt>
                <c:pt idx="1136">
                  <c:v>-1.6117616844097207E-2</c:v>
                </c:pt>
                <c:pt idx="1137">
                  <c:v>-1.5878311014138426E-2</c:v>
                </c:pt>
                <c:pt idx="1138">
                  <c:v>-1.5881282247555795E-2</c:v>
                </c:pt>
                <c:pt idx="1139">
                  <c:v>-1.5506794939705127E-2</c:v>
                </c:pt>
                <c:pt idx="1140">
                  <c:v>-1.4955069328565419E-2</c:v>
                </c:pt>
                <c:pt idx="1141">
                  <c:v>-1.4278471207990371E-2</c:v>
                </c:pt>
                <c:pt idx="1142">
                  <c:v>-1.3501559819798004E-2</c:v>
                </c:pt>
                <c:pt idx="1143">
                  <c:v>-1.2592014246645475E-2</c:v>
                </c:pt>
                <c:pt idx="1144">
                  <c:v>-1.1451409955006497E-2</c:v>
                </c:pt>
                <c:pt idx="1145">
                  <c:v>-1.0377053449497051E-2</c:v>
                </c:pt>
                <c:pt idx="1146">
                  <c:v>-8.8435814368414724E-3</c:v>
                </c:pt>
                <c:pt idx="1147">
                  <c:v>-6.7893076488164256E-3</c:v>
                </c:pt>
                <c:pt idx="1148">
                  <c:v>-3.9988689055791195E-3</c:v>
                </c:pt>
                <c:pt idx="1149">
                  <c:v>3.0422358845190768E-3</c:v>
                </c:pt>
                <c:pt idx="1150">
                  <c:v>4.0828923610685209E-3</c:v>
                </c:pt>
                <c:pt idx="1151">
                  <c:v>4.1311968308640704E-3</c:v>
                </c:pt>
                <c:pt idx="1152">
                  <c:v>4.1241810492045373E-3</c:v>
                </c:pt>
                <c:pt idx="1153">
                  <c:v>4.1396956636375439E-3</c:v>
                </c:pt>
                <c:pt idx="1154">
                  <c:v>4.0893017730228567E-3</c:v>
                </c:pt>
                <c:pt idx="1155">
                  <c:v>4.0059161702274814E-3</c:v>
                </c:pt>
                <c:pt idx="1156">
                  <c:v>3.9510993164388244E-3</c:v>
                </c:pt>
                <c:pt idx="1157">
                  <c:v>3.8037545547736232E-3</c:v>
                </c:pt>
                <c:pt idx="1158">
                  <c:v>3.7236530594532791E-3</c:v>
                </c:pt>
                <c:pt idx="1159">
                  <c:v>3.7146395903357938E-3</c:v>
                </c:pt>
                <c:pt idx="1160">
                  <c:v>3.9206371868750183E-3</c:v>
                </c:pt>
                <c:pt idx="1161">
                  <c:v>3.9959921952233881E-3</c:v>
                </c:pt>
                <c:pt idx="1162">
                  <c:v>4.0266002214797989E-3</c:v>
                </c:pt>
                <c:pt idx="1163">
                  <c:v>4.198087702108215E-3</c:v>
                </c:pt>
                <c:pt idx="1164">
                  <c:v>4.3224002826285071E-3</c:v>
                </c:pt>
                <c:pt idx="1165">
                  <c:v>4.4776007969092712E-3</c:v>
                </c:pt>
                <c:pt idx="1166">
                  <c:v>4.4599022265330432E-3</c:v>
                </c:pt>
                <c:pt idx="1167">
                  <c:v>4.5956713858073669E-3</c:v>
                </c:pt>
                <c:pt idx="1168">
                  <c:v>4.7519111795588341E-3</c:v>
                </c:pt>
                <c:pt idx="1169">
                  <c:v>4.7760734151287296E-3</c:v>
                </c:pt>
                <c:pt idx="1170">
                  <c:v>4.8343857162961613E-3</c:v>
                </c:pt>
                <c:pt idx="1171">
                  <c:v>4.8244916335489427E-3</c:v>
                </c:pt>
                <c:pt idx="1172">
                  <c:v>4.9474581567350434E-3</c:v>
                </c:pt>
                <c:pt idx="1173">
                  <c:v>4.9252127902304904E-3</c:v>
                </c:pt>
                <c:pt idx="1174">
                  <c:v>5.0178655573310223E-3</c:v>
                </c:pt>
                <c:pt idx="1175">
                  <c:v>5.1020430513429131E-3</c:v>
                </c:pt>
                <c:pt idx="1176">
                  <c:v>5.131710835120702E-3</c:v>
                </c:pt>
                <c:pt idx="1177">
                  <c:v>5.1167004037453116E-3</c:v>
                </c:pt>
                <c:pt idx="1178">
                  <c:v>5.1145082835976855E-3</c:v>
                </c:pt>
                <c:pt idx="1179">
                  <c:v>5.1200550248298223E-3</c:v>
                </c:pt>
                <c:pt idx="1180">
                  <c:v>4.2990772055661527E-3</c:v>
                </c:pt>
                <c:pt idx="1181">
                  <c:v>5.6960116404504773E-3</c:v>
                </c:pt>
                <c:pt idx="1182">
                  <c:v>5.6982040071692774E-3</c:v>
                </c:pt>
                <c:pt idx="1183">
                  <c:v>5.8329172881798228E-3</c:v>
                </c:pt>
                <c:pt idx="1184">
                  <c:v>5.9527856937782817E-3</c:v>
                </c:pt>
                <c:pt idx="1185">
                  <c:v>6.0444086750362103E-3</c:v>
                </c:pt>
                <c:pt idx="1186">
                  <c:v>6.0498121077660807E-3</c:v>
                </c:pt>
                <c:pt idx="1187">
                  <c:v>6.7266676121950321E-3</c:v>
                </c:pt>
                <c:pt idx="1188">
                  <c:v>6.8002384264687615E-3</c:v>
                </c:pt>
                <c:pt idx="1189">
                  <c:v>6.8047739643290221E-3</c:v>
                </c:pt>
                <c:pt idx="1190">
                  <c:v>6.6912668647796008E-3</c:v>
                </c:pt>
                <c:pt idx="1191">
                  <c:v>6.6174796444116359E-3</c:v>
                </c:pt>
                <c:pt idx="1192">
                  <c:v>6.618243177151783E-3</c:v>
                </c:pt>
                <c:pt idx="1193">
                  <c:v>6.6140447621185032E-3</c:v>
                </c:pt>
                <c:pt idx="1194">
                  <c:v>6.6403480303833598E-3</c:v>
                </c:pt>
                <c:pt idx="1195">
                  <c:v>6.622612280374595E-3</c:v>
                </c:pt>
                <c:pt idx="1196">
                  <c:v>6.7788081902655688E-3</c:v>
                </c:pt>
                <c:pt idx="1197">
                  <c:v>6.7947598179563069E-3</c:v>
                </c:pt>
                <c:pt idx="1198">
                  <c:v>6.7488739965633803E-3</c:v>
                </c:pt>
                <c:pt idx="1199">
                  <c:v>6.8964844139135393E-3</c:v>
                </c:pt>
                <c:pt idx="1200">
                  <c:v>7.0112526238170613E-3</c:v>
                </c:pt>
                <c:pt idx="1201">
                  <c:v>7.1008185783275161E-3</c:v>
                </c:pt>
                <c:pt idx="1202">
                  <c:v>6.9931477448494078E-3</c:v>
                </c:pt>
                <c:pt idx="1203">
                  <c:v>7.0239502965435243E-3</c:v>
                </c:pt>
                <c:pt idx="1204">
                  <c:v>6.9192922539782174E-3</c:v>
                </c:pt>
                <c:pt idx="1205">
                  <c:v>6.7727988457102015E-3</c:v>
                </c:pt>
                <c:pt idx="1206">
                  <c:v>6.6978427820522544E-3</c:v>
                </c:pt>
                <c:pt idx="1207">
                  <c:v>6.6940063518568689E-3</c:v>
                </c:pt>
                <c:pt idx="1208">
                  <c:v>6.7201697053435603E-3</c:v>
                </c:pt>
                <c:pt idx="1209">
                  <c:v>6.7637636390605821E-3</c:v>
                </c:pt>
                <c:pt idx="1210">
                  <c:v>6.8733010330221042E-3</c:v>
                </c:pt>
                <c:pt idx="1211">
                  <c:v>6.0494024500436661E-3</c:v>
                </c:pt>
                <c:pt idx="1212">
                  <c:v>6.0744379349492242E-3</c:v>
                </c:pt>
                <c:pt idx="1213">
                  <c:v>6.066127007777952E-3</c:v>
                </c:pt>
                <c:pt idx="1214">
                  <c:v>7.100562102670056E-3</c:v>
                </c:pt>
                <c:pt idx="1215">
                  <c:v>1.083330895228944E-2</c:v>
                </c:pt>
                <c:pt idx="1216">
                  <c:v>1.1323016040305974E-2</c:v>
                </c:pt>
                <c:pt idx="1217">
                  <c:v>1.1214013011453024E-2</c:v>
                </c:pt>
                <c:pt idx="1218">
                  <c:v>1.1083687836978799E-2</c:v>
                </c:pt>
                <c:pt idx="1219">
                  <c:v>1.1059527062238965E-2</c:v>
                </c:pt>
                <c:pt idx="1220">
                  <c:v>1.1028527701029007E-2</c:v>
                </c:pt>
                <c:pt idx="1221">
                  <c:v>1.1021906223683757E-2</c:v>
                </c:pt>
                <c:pt idx="1222">
                  <c:v>1.1135958119551955E-2</c:v>
                </c:pt>
                <c:pt idx="1223">
                  <c:v>1.0987087453432942E-2</c:v>
                </c:pt>
                <c:pt idx="1224">
                  <c:v>1.109540917281337E-2</c:v>
                </c:pt>
                <c:pt idx="1225">
                  <c:v>1.1256134037395485E-2</c:v>
                </c:pt>
                <c:pt idx="1226">
                  <c:v>1.1206031777513002E-2</c:v>
                </c:pt>
                <c:pt idx="1227">
                  <c:v>1.1182544818482852E-2</c:v>
                </c:pt>
                <c:pt idx="1228">
                  <c:v>1.1616017533619939E-2</c:v>
                </c:pt>
                <c:pt idx="1229">
                  <c:v>1.1590864831265521E-2</c:v>
                </c:pt>
                <c:pt idx="1230">
                  <c:v>1.145695673616811E-2</c:v>
                </c:pt>
                <c:pt idx="1231">
                  <c:v>1.1525272676743033E-2</c:v>
                </c:pt>
                <c:pt idx="1232">
                  <c:v>1.1466979029049883E-2</c:v>
                </c:pt>
                <c:pt idx="1233">
                  <c:v>1.2452949513189079E-2</c:v>
                </c:pt>
                <c:pt idx="1234">
                  <c:v>1.2394073709291693E-2</c:v>
                </c:pt>
                <c:pt idx="1235">
                  <c:v>1.2356042486402138E-2</c:v>
                </c:pt>
                <c:pt idx="1236">
                  <c:v>1.2473065735175686E-2</c:v>
                </c:pt>
                <c:pt idx="1237">
                  <c:v>1.2598976281061448E-2</c:v>
                </c:pt>
                <c:pt idx="1238">
                  <c:v>1.2672122293112167E-2</c:v>
                </c:pt>
                <c:pt idx="1239">
                  <c:v>1.2596388906525563E-2</c:v>
                </c:pt>
                <c:pt idx="1240">
                  <c:v>1.275406506859109E-2</c:v>
                </c:pt>
                <c:pt idx="1241">
                  <c:v>1.4133482089353007E-2</c:v>
                </c:pt>
                <c:pt idx="1242">
                  <c:v>1.4268375541905539E-2</c:v>
                </c:pt>
                <c:pt idx="1243">
                  <c:v>1.4103014598030808E-2</c:v>
                </c:pt>
                <c:pt idx="1244">
                  <c:v>1.3864212440445963E-2</c:v>
                </c:pt>
                <c:pt idx="1245">
                  <c:v>1.1914184288107754E-2</c:v>
                </c:pt>
                <c:pt idx="1246">
                  <c:v>1.1529908182298211E-2</c:v>
                </c:pt>
                <c:pt idx="1247">
                  <c:v>1.1368353038096799E-2</c:v>
                </c:pt>
                <c:pt idx="1248">
                  <c:v>1.143693608396874E-2</c:v>
                </c:pt>
                <c:pt idx="1249">
                  <c:v>1.1517660863940897E-2</c:v>
                </c:pt>
                <c:pt idx="1250">
                  <c:v>1.1572398885227309E-2</c:v>
                </c:pt>
                <c:pt idx="1251">
                  <c:v>1.1593615391672587E-2</c:v>
                </c:pt>
                <c:pt idx="1252">
                  <c:v>1.1472511205700994E-2</c:v>
                </c:pt>
                <c:pt idx="1253">
                  <c:v>1.1480147536780068E-2</c:v>
                </c:pt>
                <c:pt idx="1254">
                  <c:v>1.1378699427651984E-2</c:v>
                </c:pt>
                <c:pt idx="1255">
                  <c:v>1.1290843809830687E-2</c:v>
                </c:pt>
                <c:pt idx="1256">
                  <c:v>1.1263701683283733E-2</c:v>
                </c:pt>
                <c:pt idx="1257">
                  <c:v>1.1282274277557576E-2</c:v>
                </c:pt>
                <c:pt idx="1258">
                  <c:v>1.0889813536974904E-2</c:v>
                </c:pt>
                <c:pt idx="1259">
                  <c:v>1.1432320074613303E-2</c:v>
                </c:pt>
                <c:pt idx="1260">
                  <c:v>1.15889666524811E-2</c:v>
                </c:pt>
                <c:pt idx="1261">
                  <c:v>1.1467311345389475E-2</c:v>
                </c:pt>
                <c:pt idx="1262">
                  <c:v>1.181255377385574E-2</c:v>
                </c:pt>
                <c:pt idx="1263">
                  <c:v>1.0818832408541744E-2</c:v>
                </c:pt>
                <c:pt idx="1264">
                  <c:v>1.0949750079633719E-2</c:v>
                </c:pt>
                <c:pt idx="1265">
                  <c:v>1.0989747689079853E-2</c:v>
                </c:pt>
                <c:pt idx="1266">
                  <c:v>1.0809116507074732E-2</c:v>
                </c:pt>
                <c:pt idx="1267">
                  <c:v>1.0837273162330503E-2</c:v>
                </c:pt>
                <c:pt idx="1268">
                  <c:v>1.067628686189321E-2</c:v>
                </c:pt>
                <c:pt idx="1269">
                  <c:v>1.0900277746045864E-2</c:v>
                </c:pt>
                <c:pt idx="1270">
                  <c:v>1.0553514693820595E-2</c:v>
                </c:pt>
                <c:pt idx="1271">
                  <c:v>7.7198316150440191E-3</c:v>
                </c:pt>
                <c:pt idx="1272">
                  <c:v>7.6372603211962934E-3</c:v>
                </c:pt>
                <c:pt idx="1273">
                  <c:v>7.7335123548868505E-3</c:v>
                </c:pt>
                <c:pt idx="1274">
                  <c:v>7.7023821563760083E-3</c:v>
                </c:pt>
                <c:pt idx="1275">
                  <c:v>7.6354481824820811E-3</c:v>
                </c:pt>
                <c:pt idx="1276">
                  <c:v>7.7256731126369299E-3</c:v>
                </c:pt>
                <c:pt idx="1277">
                  <c:v>7.7595152301892616E-3</c:v>
                </c:pt>
                <c:pt idx="1278">
                  <c:v>8.4471307019290259E-3</c:v>
                </c:pt>
                <c:pt idx="1279">
                  <c:v>8.5486988372051598E-3</c:v>
                </c:pt>
                <c:pt idx="1280">
                  <c:v>8.5041680768394076E-3</c:v>
                </c:pt>
                <c:pt idx="1281">
                  <c:v>9.3299139591869786E-3</c:v>
                </c:pt>
                <c:pt idx="1282">
                  <c:v>9.2898852652220018E-3</c:v>
                </c:pt>
                <c:pt idx="1283">
                  <c:v>9.3028686578270677E-3</c:v>
                </c:pt>
                <c:pt idx="1284">
                  <c:v>9.2932293281507219E-3</c:v>
                </c:pt>
                <c:pt idx="1285">
                  <c:v>9.4008780216312572E-3</c:v>
                </c:pt>
                <c:pt idx="1286">
                  <c:v>9.4025341635311128E-3</c:v>
                </c:pt>
                <c:pt idx="1287">
                  <c:v>9.5843019563389958E-3</c:v>
                </c:pt>
                <c:pt idx="1288">
                  <c:v>9.613315558550807E-3</c:v>
                </c:pt>
                <c:pt idx="1289">
                  <c:v>9.0776534343381815E-3</c:v>
                </c:pt>
                <c:pt idx="1290">
                  <c:v>9.0751638677265996E-3</c:v>
                </c:pt>
                <c:pt idx="1291">
                  <c:v>9.2357085320796395E-3</c:v>
                </c:pt>
                <c:pt idx="1292">
                  <c:v>8.7544940160575995E-3</c:v>
                </c:pt>
                <c:pt idx="1293">
                  <c:v>9.8180405726020215E-3</c:v>
                </c:pt>
                <c:pt idx="1294">
                  <c:v>1.0326745293196781E-2</c:v>
                </c:pt>
                <c:pt idx="1295">
                  <c:v>1.0269402536797303E-2</c:v>
                </c:pt>
                <c:pt idx="1296">
                  <c:v>1.0432649105860959E-2</c:v>
                </c:pt>
                <c:pt idx="1297">
                  <c:v>1.0415959397491754E-2</c:v>
                </c:pt>
                <c:pt idx="1298">
                  <c:v>1.0545917632532474E-2</c:v>
                </c:pt>
                <c:pt idx="1299">
                  <c:v>1.1423872299417923E-2</c:v>
                </c:pt>
                <c:pt idx="1300">
                  <c:v>1.1385800409930237E-2</c:v>
                </c:pt>
                <c:pt idx="1301">
                  <c:v>1.1331528400957363E-2</c:v>
                </c:pt>
                <c:pt idx="1302">
                  <c:v>1.1298729222322673E-2</c:v>
                </c:pt>
                <c:pt idx="1303">
                  <c:v>1.1294749245707522E-2</c:v>
                </c:pt>
                <c:pt idx="1304">
                  <c:v>1.1415679631589591E-2</c:v>
                </c:pt>
                <c:pt idx="1305">
                  <c:v>1.1455993583765917E-2</c:v>
                </c:pt>
                <c:pt idx="1306">
                  <c:v>1.1874307656854091E-2</c:v>
                </c:pt>
                <c:pt idx="1307">
                  <c:v>1.2528663124500041E-2</c:v>
                </c:pt>
                <c:pt idx="1308">
                  <c:v>1.2213873259197991E-2</c:v>
                </c:pt>
                <c:pt idx="1309">
                  <c:v>1.2464349049030581E-2</c:v>
                </c:pt>
                <c:pt idx="1310">
                  <c:v>1.2489229787774192E-2</c:v>
                </c:pt>
                <c:pt idx="1311">
                  <c:v>1.2076459493200988E-2</c:v>
                </c:pt>
                <c:pt idx="1312">
                  <c:v>1.2081544656156197E-2</c:v>
                </c:pt>
                <c:pt idx="1313">
                  <c:v>1.2081550339093625E-2</c:v>
                </c:pt>
                <c:pt idx="1314">
                  <c:v>1.2228781317342154E-2</c:v>
                </c:pt>
                <c:pt idx="1315">
                  <c:v>1.2221160147500562E-2</c:v>
                </c:pt>
                <c:pt idx="1316">
                  <c:v>1.2240864650181085E-2</c:v>
                </c:pt>
                <c:pt idx="1317">
                  <c:v>1.2047113451559349E-2</c:v>
                </c:pt>
                <c:pt idx="1318">
                  <c:v>1.2037862909729202E-2</c:v>
                </c:pt>
                <c:pt idx="1319">
                  <c:v>1.1896912889711897E-2</c:v>
                </c:pt>
                <c:pt idx="1320">
                  <c:v>1.1844418765670314E-2</c:v>
                </c:pt>
                <c:pt idx="1321">
                  <c:v>1.1636784683059983E-2</c:v>
                </c:pt>
                <c:pt idx="1322">
                  <c:v>1.1622233720388887E-2</c:v>
                </c:pt>
                <c:pt idx="1323">
                  <c:v>1.0946846916750703E-2</c:v>
                </c:pt>
                <c:pt idx="1324">
                  <c:v>1.0601266338632787E-2</c:v>
                </c:pt>
                <c:pt idx="1325">
                  <c:v>1.0769639337870649E-2</c:v>
                </c:pt>
                <c:pt idx="1326">
                  <c:v>1.085011787483136E-2</c:v>
                </c:pt>
                <c:pt idx="1327">
                  <c:v>1.0803839052073626E-2</c:v>
                </c:pt>
                <c:pt idx="1328">
                  <c:v>1.0671633720388611E-2</c:v>
                </c:pt>
                <c:pt idx="1329">
                  <c:v>9.7629360844379426E-3</c:v>
                </c:pt>
                <c:pt idx="1330">
                  <c:v>9.8292924264444873E-3</c:v>
                </c:pt>
                <c:pt idx="1331">
                  <c:v>9.9400369451302859E-3</c:v>
                </c:pt>
                <c:pt idx="1332">
                  <c:v>1.0015750745224438E-2</c:v>
                </c:pt>
                <c:pt idx="1333">
                  <c:v>1.0008801724435638E-2</c:v>
                </c:pt>
                <c:pt idx="1334">
                  <c:v>9.9315653169612852E-3</c:v>
                </c:pt>
                <c:pt idx="1335">
                  <c:v>9.8821538372248861E-3</c:v>
                </c:pt>
                <c:pt idx="1336">
                  <c:v>9.1978949575937923E-3</c:v>
                </c:pt>
                <c:pt idx="1337">
                  <c:v>7.8942274422650338E-3</c:v>
                </c:pt>
                <c:pt idx="1338">
                  <c:v>7.8787157447081455E-3</c:v>
                </c:pt>
                <c:pt idx="1339">
                  <c:v>6.682717119455844E-3</c:v>
                </c:pt>
                <c:pt idx="1340">
                  <c:v>6.8206764834106409E-3</c:v>
                </c:pt>
                <c:pt idx="1341">
                  <c:v>6.3225502711170565E-3</c:v>
                </c:pt>
                <c:pt idx="1342">
                  <c:v>6.3205541220304837E-3</c:v>
                </c:pt>
                <c:pt idx="1343">
                  <c:v>6.1747030602490099E-3</c:v>
                </c:pt>
                <c:pt idx="1344">
                  <c:v>6.1845548837933754E-3</c:v>
                </c:pt>
                <c:pt idx="1345">
                  <c:v>6.274653412221701E-3</c:v>
                </c:pt>
                <c:pt idx="1346">
                  <c:v>6.3613813918340124E-3</c:v>
                </c:pt>
                <c:pt idx="1347">
                  <c:v>6.3625594704285644E-3</c:v>
                </c:pt>
                <c:pt idx="1348">
                  <c:v>6.3323577820352797E-3</c:v>
                </c:pt>
                <c:pt idx="1349">
                  <c:v>6.4743553777562675E-3</c:v>
                </c:pt>
                <c:pt idx="1350">
                  <c:v>6.5278721465946042E-3</c:v>
                </c:pt>
                <c:pt idx="1351">
                  <c:v>6.2776313626214152E-3</c:v>
                </c:pt>
                <c:pt idx="1352">
                  <c:v>6.2187200505993906E-3</c:v>
                </c:pt>
                <c:pt idx="1353">
                  <c:v>5.7939492248094268E-3</c:v>
                </c:pt>
                <c:pt idx="1354">
                  <c:v>5.6957161110045441E-3</c:v>
                </c:pt>
                <c:pt idx="1355">
                  <c:v>5.6259110034205459E-3</c:v>
                </c:pt>
                <c:pt idx="1356">
                  <c:v>5.4416446093594629E-3</c:v>
                </c:pt>
                <c:pt idx="1357">
                  <c:v>5.5710853089727284E-3</c:v>
                </c:pt>
                <c:pt idx="1358">
                  <c:v>5.7043492114827767E-3</c:v>
                </c:pt>
                <c:pt idx="1359">
                  <c:v>4.8027273503360906E-3</c:v>
                </c:pt>
                <c:pt idx="1360">
                  <c:v>7.5191969174731952E-3</c:v>
                </c:pt>
                <c:pt idx="1361">
                  <c:v>7.5216663675467775E-3</c:v>
                </c:pt>
                <c:pt idx="1362">
                  <c:v>7.4993827648035883E-3</c:v>
                </c:pt>
                <c:pt idx="1363">
                  <c:v>7.5250191288265423E-3</c:v>
                </c:pt>
                <c:pt idx="1364">
                  <c:v>7.5488173249972238E-3</c:v>
                </c:pt>
                <c:pt idx="1365">
                  <c:v>7.5664147562104211E-3</c:v>
                </c:pt>
                <c:pt idx="1366">
                  <c:v>7.580804739377953E-3</c:v>
                </c:pt>
                <c:pt idx="1367">
                  <c:v>7.5689134406926057E-3</c:v>
                </c:pt>
                <c:pt idx="1368">
                  <c:v>7.5770120130258219E-3</c:v>
                </c:pt>
                <c:pt idx="1369">
                  <c:v>7.5831318316294267E-3</c:v>
                </c:pt>
                <c:pt idx="1370">
                  <c:v>7.4758031182038257E-3</c:v>
                </c:pt>
                <c:pt idx="1371">
                  <c:v>7.4686099218651825E-3</c:v>
                </c:pt>
                <c:pt idx="1372">
                  <c:v>7.4884236466596686E-3</c:v>
                </c:pt>
                <c:pt idx="1373">
                  <c:v>7.3319608126299488E-3</c:v>
                </c:pt>
                <c:pt idx="1374">
                  <c:v>7.3211709949371961E-3</c:v>
                </c:pt>
                <c:pt idx="1375">
                  <c:v>7.1983704297575168E-3</c:v>
                </c:pt>
                <c:pt idx="1376">
                  <c:v>7.1727122535221082E-3</c:v>
                </c:pt>
                <c:pt idx="1377">
                  <c:v>7.1951465233213762E-3</c:v>
                </c:pt>
                <c:pt idx="1378">
                  <c:v>7.4567786751089981E-3</c:v>
                </c:pt>
                <c:pt idx="1379">
                  <c:v>7.4936292407980004E-3</c:v>
                </c:pt>
                <c:pt idx="1380">
                  <c:v>7.4179579421780146E-3</c:v>
                </c:pt>
                <c:pt idx="1381">
                  <c:v>7.4106662964176697E-3</c:v>
                </c:pt>
                <c:pt idx="1382">
                  <c:v>7.3726373365666439E-3</c:v>
                </c:pt>
                <c:pt idx="1383">
                  <c:v>7.479135228359122E-3</c:v>
                </c:pt>
                <c:pt idx="1384">
                  <c:v>7.4940543670341375E-3</c:v>
                </c:pt>
                <c:pt idx="1385">
                  <c:v>7.4900687705139052E-3</c:v>
                </c:pt>
                <c:pt idx="1386">
                  <c:v>7.4516608587337305E-3</c:v>
                </c:pt>
                <c:pt idx="1387">
                  <c:v>7.3129209595064809E-3</c:v>
                </c:pt>
                <c:pt idx="1388">
                  <c:v>9.0385963272027834E-3</c:v>
                </c:pt>
                <c:pt idx="1389">
                  <c:v>9.1010826289040624E-3</c:v>
                </c:pt>
                <c:pt idx="1390">
                  <c:v>7.3490561484117626E-3</c:v>
                </c:pt>
                <c:pt idx="1391">
                  <c:v>7.4107182502769244E-3</c:v>
                </c:pt>
                <c:pt idx="1392">
                  <c:v>7.3474689917617016E-3</c:v>
                </c:pt>
                <c:pt idx="1393">
                  <c:v>7.2695374610198199E-3</c:v>
                </c:pt>
                <c:pt idx="1394">
                  <c:v>7.4174997949033993E-3</c:v>
                </c:pt>
                <c:pt idx="1395">
                  <c:v>7.5288015097516245E-3</c:v>
                </c:pt>
                <c:pt idx="1396">
                  <c:v>7.5939865208599069E-3</c:v>
                </c:pt>
                <c:pt idx="1397">
                  <c:v>7.5892761590897646E-3</c:v>
                </c:pt>
                <c:pt idx="1398">
                  <c:v>7.5959767681361163E-3</c:v>
                </c:pt>
                <c:pt idx="1399">
                  <c:v>7.5964534970068337E-3</c:v>
                </c:pt>
                <c:pt idx="1400">
                  <c:v>7.5889675350184014E-3</c:v>
                </c:pt>
                <c:pt idx="1401">
                  <c:v>7.5170572145005447E-3</c:v>
                </c:pt>
                <c:pt idx="1402">
                  <c:v>7.4501739701912078E-3</c:v>
                </c:pt>
                <c:pt idx="1403">
                  <c:v>7.3546691235632988E-3</c:v>
                </c:pt>
                <c:pt idx="1404">
                  <c:v>7.3066695704081175E-3</c:v>
                </c:pt>
                <c:pt idx="1405">
                  <c:v>7.4279151576166899E-3</c:v>
                </c:pt>
                <c:pt idx="1406">
                  <c:v>7.3816093263260468E-3</c:v>
                </c:pt>
                <c:pt idx="1407">
                  <c:v>7.3782367167149789E-3</c:v>
                </c:pt>
                <c:pt idx="1408">
                  <c:v>7.1974094770164872E-3</c:v>
                </c:pt>
                <c:pt idx="1409">
                  <c:v>7.1045485400074854E-3</c:v>
                </c:pt>
                <c:pt idx="1410">
                  <c:v>7.0698695281032793E-3</c:v>
                </c:pt>
                <c:pt idx="1411">
                  <c:v>7.0492863745819662E-3</c:v>
                </c:pt>
                <c:pt idx="1412">
                  <c:v>7.0105169205191935E-3</c:v>
                </c:pt>
                <c:pt idx="1413">
                  <c:v>6.8740435415926135E-3</c:v>
                </c:pt>
                <c:pt idx="1414">
                  <c:v>6.9042844677546606E-3</c:v>
                </c:pt>
                <c:pt idx="1415">
                  <c:v>6.9565172859643682E-3</c:v>
                </c:pt>
                <c:pt idx="1416">
                  <c:v>7.0040934510460975E-3</c:v>
                </c:pt>
                <c:pt idx="1417">
                  <c:v>7.1456421040817578E-3</c:v>
                </c:pt>
                <c:pt idx="1418">
                  <c:v>4.3817228890900162E-3</c:v>
                </c:pt>
                <c:pt idx="1419">
                  <c:v>4.2091908466134363E-3</c:v>
                </c:pt>
                <c:pt idx="1420">
                  <c:v>4.0115302072241451E-3</c:v>
                </c:pt>
                <c:pt idx="1421">
                  <c:v>3.9104658720246262E-3</c:v>
                </c:pt>
                <c:pt idx="1422">
                  <c:v>3.9688007341978091E-3</c:v>
                </c:pt>
                <c:pt idx="1423">
                  <c:v>7.9749029354241018E-3</c:v>
                </c:pt>
                <c:pt idx="1424">
                  <c:v>7.9789514827416884E-3</c:v>
                </c:pt>
                <c:pt idx="1425">
                  <c:v>7.9531464768096208E-3</c:v>
                </c:pt>
                <c:pt idx="1426">
                  <c:v>7.9401008108459323E-3</c:v>
                </c:pt>
                <c:pt idx="1427">
                  <c:v>8.0216094530551774E-3</c:v>
                </c:pt>
                <c:pt idx="1428">
                  <c:v>8.5314330257575E-3</c:v>
                </c:pt>
                <c:pt idx="1429">
                  <c:v>8.6252083399772084E-3</c:v>
                </c:pt>
                <c:pt idx="1430">
                  <c:v>8.7214645086288404E-3</c:v>
                </c:pt>
                <c:pt idx="1431">
                  <c:v>8.808466293229858E-3</c:v>
                </c:pt>
                <c:pt idx="1432">
                  <c:v>8.8686383315185451E-3</c:v>
                </c:pt>
                <c:pt idx="1433">
                  <c:v>9.0434605304718623E-3</c:v>
                </c:pt>
                <c:pt idx="1434">
                  <c:v>9.0678421439945485E-3</c:v>
                </c:pt>
                <c:pt idx="1435">
                  <c:v>9.1726003956485672E-3</c:v>
                </c:pt>
                <c:pt idx="1436">
                  <c:v>9.228373863687328E-3</c:v>
                </c:pt>
                <c:pt idx="1437">
                  <c:v>9.2614858957228829E-3</c:v>
                </c:pt>
                <c:pt idx="1438">
                  <c:v>9.4154417761913353E-3</c:v>
                </c:pt>
                <c:pt idx="1439">
                  <c:v>1.014870702510544E-2</c:v>
                </c:pt>
                <c:pt idx="1440">
                  <c:v>1.0255583459330931E-2</c:v>
                </c:pt>
                <c:pt idx="1441">
                  <c:v>1.0285058653616543E-2</c:v>
                </c:pt>
                <c:pt idx="1442">
                  <c:v>1.03833533170394E-2</c:v>
                </c:pt>
                <c:pt idx="1443">
                  <c:v>1.0472195655331936E-2</c:v>
                </c:pt>
                <c:pt idx="1444">
                  <c:v>1.1659334692138843E-2</c:v>
                </c:pt>
                <c:pt idx="1445">
                  <c:v>1.1750886813348918E-2</c:v>
                </c:pt>
                <c:pt idx="1446">
                  <c:v>1.1926309731301953E-2</c:v>
                </c:pt>
                <c:pt idx="1447">
                  <c:v>1.218195936563851E-2</c:v>
                </c:pt>
                <c:pt idx="1448">
                  <c:v>1.245868491298072E-2</c:v>
                </c:pt>
                <c:pt idx="1449">
                  <c:v>1.2765694820932169E-2</c:v>
                </c:pt>
                <c:pt idx="1450">
                  <c:v>1.3092878309733822E-2</c:v>
                </c:pt>
                <c:pt idx="1451">
                  <c:v>1.3406346535859405E-2</c:v>
                </c:pt>
                <c:pt idx="1452">
                  <c:v>1.3624642526488463E-2</c:v>
                </c:pt>
                <c:pt idx="1453">
                  <c:v>1.1955454242452463E-2</c:v>
                </c:pt>
                <c:pt idx="1454">
                  <c:v>1.2093693759735109E-2</c:v>
                </c:pt>
                <c:pt idx="1455">
                  <c:v>1.2231860545221889E-2</c:v>
                </c:pt>
                <c:pt idx="1456">
                  <c:v>1.239055021198775E-2</c:v>
                </c:pt>
                <c:pt idx="1457">
                  <c:v>1.2487314924503118E-2</c:v>
                </c:pt>
                <c:pt idx="1458">
                  <c:v>1.198427305389387E-2</c:v>
                </c:pt>
                <c:pt idx="1459">
                  <c:v>1.2039265029000386E-2</c:v>
                </c:pt>
                <c:pt idx="1460">
                  <c:v>1.2087244969779759E-2</c:v>
                </c:pt>
                <c:pt idx="1461">
                  <c:v>1.2801953248090445E-2</c:v>
                </c:pt>
                <c:pt idx="1462">
                  <c:v>1.3326557524988259E-2</c:v>
                </c:pt>
                <c:pt idx="1463">
                  <c:v>1.3256201505084034E-2</c:v>
                </c:pt>
                <c:pt idx="1464">
                  <c:v>1.3191267431771099E-2</c:v>
                </c:pt>
                <c:pt idx="1465">
                  <c:v>1.3129713505681245E-2</c:v>
                </c:pt>
                <c:pt idx="1466">
                  <c:v>1.3020326829236374E-2</c:v>
                </c:pt>
                <c:pt idx="1467">
                  <c:v>1.2904076223643469E-2</c:v>
                </c:pt>
                <c:pt idx="1468">
                  <c:v>1.2815127620812043E-2</c:v>
                </c:pt>
                <c:pt idx="1469">
                  <c:v>1.2045377913596811E-2</c:v>
                </c:pt>
                <c:pt idx="1470">
                  <c:v>1.2555934590932478E-2</c:v>
                </c:pt>
                <c:pt idx="1471">
                  <c:v>1.2438869647187644E-2</c:v>
                </c:pt>
                <c:pt idx="1472">
                  <c:v>1.2310968239798636E-2</c:v>
                </c:pt>
                <c:pt idx="1473">
                  <c:v>1.2202814833022775E-2</c:v>
                </c:pt>
                <c:pt idx="1474">
                  <c:v>1.0806951669758726E-2</c:v>
                </c:pt>
                <c:pt idx="1475">
                  <c:v>1.0587953472442742E-2</c:v>
                </c:pt>
                <c:pt idx="1476">
                  <c:v>1.0340155716259227E-2</c:v>
                </c:pt>
                <c:pt idx="1477">
                  <c:v>1.1664005828221535E-2</c:v>
                </c:pt>
                <c:pt idx="1478">
                  <c:v>1.1542570744746801E-2</c:v>
                </c:pt>
                <c:pt idx="1479">
                  <c:v>1.1483404476445601E-2</c:v>
                </c:pt>
                <c:pt idx="1480">
                  <c:v>1.1485051687340054E-2</c:v>
                </c:pt>
                <c:pt idx="1481">
                  <c:v>1.1482451713273986E-2</c:v>
                </c:pt>
                <c:pt idx="1482">
                  <c:v>1.1765980667363297E-2</c:v>
                </c:pt>
                <c:pt idx="1483">
                  <c:v>1.1367048185531062E-2</c:v>
                </c:pt>
                <c:pt idx="1484">
                  <c:v>1.1362066321678875E-2</c:v>
                </c:pt>
                <c:pt idx="1485">
                  <c:v>1.1451557356589342E-2</c:v>
                </c:pt>
                <c:pt idx="1486">
                  <c:v>1.178787012784514E-2</c:v>
                </c:pt>
                <c:pt idx="1487">
                  <c:v>1.1903376120429618E-2</c:v>
                </c:pt>
                <c:pt idx="1488">
                  <c:v>1.1924250784191152E-2</c:v>
                </c:pt>
                <c:pt idx="1489">
                  <c:v>1.2021165574567907E-2</c:v>
                </c:pt>
                <c:pt idx="1490">
                  <c:v>1.2337321886300132E-2</c:v>
                </c:pt>
                <c:pt idx="1491">
                  <c:v>1.2024001779637063E-2</c:v>
                </c:pt>
                <c:pt idx="1492">
                  <c:v>1.1731299266197147E-2</c:v>
                </c:pt>
                <c:pt idx="1493">
                  <c:v>1.177095977689083E-2</c:v>
                </c:pt>
                <c:pt idx="1494">
                  <c:v>1.1848335618585084E-2</c:v>
                </c:pt>
                <c:pt idx="1495">
                  <c:v>1.2992406197925724E-2</c:v>
                </c:pt>
                <c:pt idx="1496">
                  <c:v>1.3016801207935169E-2</c:v>
                </c:pt>
                <c:pt idx="1497">
                  <c:v>1.3055865988828795E-2</c:v>
                </c:pt>
                <c:pt idx="1498">
                  <c:v>1.3372243917411337E-2</c:v>
                </c:pt>
                <c:pt idx="1499">
                  <c:v>1.589888647993408E-2</c:v>
                </c:pt>
                <c:pt idx="1500">
                  <c:v>1.5622438835642708E-2</c:v>
                </c:pt>
                <c:pt idx="1501">
                  <c:v>1.5540196907428938E-2</c:v>
                </c:pt>
                <c:pt idx="1502">
                  <c:v>1.5577687651397011E-2</c:v>
                </c:pt>
                <c:pt idx="1503">
                  <c:v>1.556295925385376E-2</c:v>
                </c:pt>
                <c:pt idx="1504">
                  <c:v>1.5597222908183887E-2</c:v>
                </c:pt>
                <c:pt idx="1505">
                  <c:v>1.6700851705797683E-2</c:v>
                </c:pt>
                <c:pt idx="1506">
                  <c:v>1.6615637835015871E-2</c:v>
                </c:pt>
                <c:pt idx="1507">
                  <c:v>1.5893785491091283E-2</c:v>
                </c:pt>
                <c:pt idx="1508">
                  <c:v>1.5830038127178075E-2</c:v>
                </c:pt>
                <c:pt idx="1509">
                  <c:v>1.5742862823733477E-2</c:v>
                </c:pt>
                <c:pt idx="1510">
                  <c:v>1.6225133547058138E-2</c:v>
                </c:pt>
                <c:pt idx="1511">
                  <c:v>1.6266471882480413E-2</c:v>
                </c:pt>
                <c:pt idx="1512">
                  <c:v>1.6174616739727317E-2</c:v>
                </c:pt>
                <c:pt idx="1513">
                  <c:v>1.6098821113931676E-2</c:v>
                </c:pt>
                <c:pt idx="1514">
                  <c:v>1.6068018715820098E-2</c:v>
                </c:pt>
                <c:pt idx="1515">
                  <c:v>1.6107189176274222E-2</c:v>
                </c:pt>
                <c:pt idx="1516">
                  <c:v>1.6064017030681901E-2</c:v>
                </c:pt>
                <c:pt idx="1517">
                  <c:v>1.6068616458587173E-2</c:v>
                </c:pt>
                <c:pt idx="1518">
                  <c:v>1.6086540169160102E-2</c:v>
                </c:pt>
                <c:pt idx="1519">
                  <c:v>1.6106576129345972E-2</c:v>
                </c:pt>
                <c:pt idx="1520">
                  <c:v>1.5996302266760746E-2</c:v>
                </c:pt>
                <c:pt idx="1521">
                  <c:v>1.599011385910841E-2</c:v>
                </c:pt>
                <c:pt idx="1522">
                  <c:v>1.6003664858255932E-2</c:v>
                </c:pt>
                <c:pt idx="1523">
                  <c:v>1.6043483371242326E-2</c:v>
                </c:pt>
                <c:pt idx="1524">
                  <c:v>1.5986889337739934E-2</c:v>
                </c:pt>
                <c:pt idx="1525">
                  <c:v>1.5324643370018199E-2</c:v>
                </c:pt>
                <c:pt idx="1526">
                  <c:v>1.8627543328372232E-2</c:v>
                </c:pt>
                <c:pt idx="1527">
                  <c:v>1.8601075911090913E-2</c:v>
                </c:pt>
                <c:pt idx="1528">
                  <c:v>1.8445686720065288E-2</c:v>
                </c:pt>
                <c:pt idx="1529">
                  <c:v>1.649230749017145E-2</c:v>
                </c:pt>
                <c:pt idx="1530">
                  <c:v>1.6443590994169012E-2</c:v>
                </c:pt>
                <c:pt idx="1531">
                  <c:v>1.6512174116157727E-2</c:v>
                </c:pt>
                <c:pt idx="1532">
                  <c:v>1.6533426313336208E-2</c:v>
                </c:pt>
                <c:pt idx="1533">
                  <c:v>1.688485056932644E-2</c:v>
                </c:pt>
                <c:pt idx="1534">
                  <c:v>1.6777167045372215E-2</c:v>
                </c:pt>
                <c:pt idx="1535">
                  <c:v>1.5489632514544147E-2</c:v>
                </c:pt>
                <c:pt idx="1536">
                  <c:v>1.5386645280362536E-2</c:v>
                </c:pt>
                <c:pt idx="1537">
                  <c:v>1.531314228578123E-2</c:v>
                </c:pt>
                <c:pt idx="1538">
                  <c:v>1.5264997619386794E-2</c:v>
                </c:pt>
                <c:pt idx="1539">
                  <c:v>1.5168287974509512E-2</c:v>
                </c:pt>
                <c:pt idx="1540">
                  <c:v>1.4404413264155739E-2</c:v>
                </c:pt>
                <c:pt idx="1541">
                  <c:v>1.4264997902389377E-2</c:v>
                </c:pt>
                <c:pt idx="1542">
                  <c:v>1.4134664417779835E-2</c:v>
                </c:pt>
                <c:pt idx="1543">
                  <c:v>1.4242652033300326E-2</c:v>
                </c:pt>
                <c:pt idx="1544">
                  <c:v>1.4186742365520458E-2</c:v>
                </c:pt>
                <c:pt idx="1545">
                  <c:v>1.4083258508723745E-2</c:v>
                </c:pt>
                <c:pt idx="1546">
                  <c:v>1.4003010798599214E-2</c:v>
                </c:pt>
                <c:pt idx="1547">
                  <c:v>1.3898261267233515E-2</c:v>
                </c:pt>
                <c:pt idx="1548">
                  <c:v>1.3813996804095709E-2</c:v>
                </c:pt>
                <c:pt idx="1549">
                  <c:v>1.3945732343061399E-2</c:v>
                </c:pt>
                <c:pt idx="1550">
                  <c:v>1.3986849607155913E-2</c:v>
                </c:pt>
                <c:pt idx="1551">
                  <c:v>1.4061182403393321E-2</c:v>
                </c:pt>
                <c:pt idx="1552">
                  <c:v>1.4077022258325363E-2</c:v>
                </c:pt>
                <c:pt idx="1553">
                  <c:v>1.4255678728865117E-2</c:v>
                </c:pt>
                <c:pt idx="1554">
                  <c:v>1.4342627900072505E-2</c:v>
                </c:pt>
                <c:pt idx="1555">
                  <c:v>1.4334761409244907E-2</c:v>
                </c:pt>
                <c:pt idx="1556">
                  <c:v>9.0645850934741312E-3</c:v>
                </c:pt>
                <c:pt idx="1557">
                  <c:v>9.078332487010312E-3</c:v>
                </c:pt>
                <c:pt idx="1558">
                  <c:v>9.1711096586401166E-3</c:v>
                </c:pt>
                <c:pt idx="1559">
                  <c:v>9.1938778188721936E-3</c:v>
                </c:pt>
                <c:pt idx="1560">
                  <c:v>9.2332036008720593E-3</c:v>
                </c:pt>
                <c:pt idx="1561">
                  <c:v>9.1902338689208943E-3</c:v>
                </c:pt>
                <c:pt idx="1562">
                  <c:v>9.1143118432575818E-3</c:v>
                </c:pt>
                <c:pt idx="1563">
                  <c:v>8.2265875234504154E-3</c:v>
                </c:pt>
                <c:pt idx="1564">
                  <c:v>8.3247031163207544E-3</c:v>
                </c:pt>
                <c:pt idx="1565">
                  <c:v>8.0708951908251246E-3</c:v>
                </c:pt>
                <c:pt idx="1566">
                  <c:v>9.4282235705157071E-3</c:v>
                </c:pt>
                <c:pt idx="1567">
                  <c:v>9.5156909835555966E-3</c:v>
                </c:pt>
                <c:pt idx="1568">
                  <c:v>9.4794871551013328E-3</c:v>
                </c:pt>
                <c:pt idx="1569">
                  <c:v>9.4789070400951789E-3</c:v>
                </c:pt>
                <c:pt idx="1570">
                  <c:v>9.5214075201926866E-3</c:v>
                </c:pt>
                <c:pt idx="1571">
                  <c:v>9.5633360651522208E-3</c:v>
                </c:pt>
                <c:pt idx="1572">
                  <c:v>9.5298458521657879E-3</c:v>
                </c:pt>
                <c:pt idx="1573">
                  <c:v>8.8660466495516458E-3</c:v>
                </c:pt>
                <c:pt idx="1574">
                  <c:v>8.5781579620790912E-3</c:v>
                </c:pt>
                <c:pt idx="1575">
                  <c:v>9.624015698445695E-3</c:v>
                </c:pt>
                <c:pt idx="1576">
                  <c:v>1.2092213451769218E-2</c:v>
                </c:pt>
                <c:pt idx="1577">
                  <c:v>1.3640274071225136E-2</c:v>
                </c:pt>
                <c:pt idx="1578">
                  <c:v>1.5233065673302687E-2</c:v>
                </c:pt>
                <c:pt idx="1579">
                  <c:v>1.6372658809475159E-2</c:v>
                </c:pt>
                <c:pt idx="1580">
                  <c:v>1.8453387643447072E-2</c:v>
                </c:pt>
                <c:pt idx="1581">
                  <c:v>2.0705823215216766E-2</c:v>
                </c:pt>
                <c:pt idx="1582">
                  <c:v>2.2432390436513749E-2</c:v>
                </c:pt>
                <c:pt idx="1583">
                  <c:v>2.4637546238054208E-2</c:v>
                </c:pt>
                <c:pt idx="1584">
                  <c:v>2.6647998967363765E-2</c:v>
                </c:pt>
                <c:pt idx="1585">
                  <c:v>2.8974505071612439E-2</c:v>
                </c:pt>
                <c:pt idx="1586">
                  <c:v>3.116577765849313E-2</c:v>
                </c:pt>
                <c:pt idx="1587">
                  <c:v>3.3027526012993816E-2</c:v>
                </c:pt>
                <c:pt idx="1588">
                  <c:v>3.4588772339201768E-2</c:v>
                </c:pt>
                <c:pt idx="1589">
                  <c:v>3.6439197808865141E-2</c:v>
                </c:pt>
                <c:pt idx="1590">
                  <c:v>3.8331607292233609E-2</c:v>
                </c:pt>
                <c:pt idx="1591">
                  <c:v>4.0022276927574083E-2</c:v>
                </c:pt>
                <c:pt idx="1592">
                  <c:v>4.3234384672770153E-2</c:v>
                </c:pt>
                <c:pt idx="1593">
                  <c:v>4.4418746481807464E-2</c:v>
                </c:pt>
                <c:pt idx="1594">
                  <c:v>4.5433057695011388E-2</c:v>
                </c:pt>
                <c:pt idx="1595">
                  <c:v>4.6907308475365381E-2</c:v>
                </c:pt>
                <c:pt idx="1596">
                  <c:v>4.6635120654848289E-2</c:v>
                </c:pt>
                <c:pt idx="1597">
                  <c:v>4.6832245017129959E-2</c:v>
                </c:pt>
                <c:pt idx="1598">
                  <c:v>4.6894881791611394E-2</c:v>
                </c:pt>
                <c:pt idx="1599">
                  <c:v>4.6617388417283676E-2</c:v>
                </c:pt>
                <c:pt idx="1600">
                  <c:v>4.6064015454996499E-2</c:v>
                </c:pt>
                <c:pt idx="1601">
                  <c:v>4.5723585047720575E-2</c:v>
                </c:pt>
                <c:pt idx="1602">
                  <c:v>4.5010464604439464E-2</c:v>
                </c:pt>
                <c:pt idx="1603">
                  <c:v>4.4098657240071573E-2</c:v>
                </c:pt>
                <c:pt idx="1604">
                  <c:v>4.2746177876210739E-2</c:v>
                </c:pt>
                <c:pt idx="1605">
                  <c:v>4.1628822205695498E-2</c:v>
                </c:pt>
                <c:pt idx="1606">
                  <c:v>4.1068333673265567E-2</c:v>
                </c:pt>
                <c:pt idx="1607">
                  <c:v>4.0192447800356412E-2</c:v>
                </c:pt>
                <c:pt idx="1608">
                  <c:v>3.8610962589061576E-2</c:v>
                </c:pt>
                <c:pt idx="1609">
                  <c:v>3.7102806870088156E-2</c:v>
                </c:pt>
                <c:pt idx="1610">
                  <c:v>3.6030770017569172E-2</c:v>
                </c:pt>
                <c:pt idx="1611">
                  <c:v>3.6816153312605057E-2</c:v>
                </c:pt>
                <c:pt idx="1612">
                  <c:v>3.7265657051134285E-2</c:v>
                </c:pt>
                <c:pt idx="1613">
                  <c:v>3.778551624623306E-2</c:v>
                </c:pt>
                <c:pt idx="1614">
                  <c:v>3.8074670464439804E-2</c:v>
                </c:pt>
                <c:pt idx="1615">
                  <c:v>3.9833773314695661E-2</c:v>
                </c:pt>
                <c:pt idx="1616">
                  <c:v>4.2340858100111123E-2</c:v>
                </c:pt>
                <c:pt idx="1617">
                  <c:v>4.4340695948900034E-2</c:v>
                </c:pt>
                <c:pt idx="1618">
                  <c:v>4.7245734720805656E-2</c:v>
                </c:pt>
                <c:pt idx="1619">
                  <c:v>4.9080493329253058E-2</c:v>
                </c:pt>
                <c:pt idx="1620">
                  <c:v>5.32125009045517E-2</c:v>
                </c:pt>
                <c:pt idx="1621">
                  <c:v>5.7786948705473018E-2</c:v>
                </c:pt>
                <c:pt idx="1622">
                  <c:v>6.0278106485250262E-2</c:v>
                </c:pt>
                <c:pt idx="1623">
                  <c:v>6.5872762492143563E-2</c:v>
                </c:pt>
                <c:pt idx="1624">
                  <c:v>7.07507689158587E-2</c:v>
                </c:pt>
                <c:pt idx="1625">
                  <c:v>7.3173071244165458E-2</c:v>
                </c:pt>
                <c:pt idx="1626">
                  <c:v>7.6684177094765868E-2</c:v>
                </c:pt>
                <c:pt idx="1627">
                  <c:v>0.10244819228839344</c:v>
                </c:pt>
                <c:pt idx="1628">
                  <c:v>0.11468375159280095</c:v>
                </c:pt>
                <c:pt idx="1629">
                  <c:v>0.12288916571839785</c:v>
                </c:pt>
                <c:pt idx="1630">
                  <c:v>0.12922815922923112</c:v>
                </c:pt>
                <c:pt idx="1631">
                  <c:v>0.13539089973609614</c:v>
                </c:pt>
                <c:pt idx="1632">
                  <c:v>0.14000741871381281</c:v>
                </c:pt>
                <c:pt idx="1633">
                  <c:v>0.14789362260385261</c:v>
                </c:pt>
                <c:pt idx="1634">
                  <c:v>0.15401131595733084</c:v>
                </c:pt>
                <c:pt idx="1635">
                  <c:v>0.15857796240557145</c:v>
                </c:pt>
                <c:pt idx="1636">
                  <c:v>0.16214244447439552</c:v>
                </c:pt>
                <c:pt idx="1637">
                  <c:v>0.16396708441246557</c:v>
                </c:pt>
                <c:pt idx="1638">
                  <c:v>0.16512800180201451</c:v>
                </c:pt>
                <c:pt idx="1639">
                  <c:v>0.16448616029586843</c:v>
                </c:pt>
                <c:pt idx="1640">
                  <c:v>0.16259017815628451</c:v>
                </c:pt>
                <c:pt idx="1641">
                  <c:v>0.16161129745172165</c:v>
                </c:pt>
                <c:pt idx="1642">
                  <c:v>0.15906407884900442</c:v>
                </c:pt>
                <c:pt idx="1643">
                  <c:v>0.15536842716664967</c:v>
                </c:pt>
                <c:pt idx="1644">
                  <c:v>0.15034753370306828</c:v>
                </c:pt>
                <c:pt idx="1645">
                  <c:v>0.14557865776234952</c:v>
                </c:pt>
                <c:pt idx="1646">
                  <c:v>0.13979414893640266</c:v>
                </c:pt>
                <c:pt idx="1647">
                  <c:v>0.12990524802522471</c:v>
                </c:pt>
                <c:pt idx="1648">
                  <c:v>0.11753182667062893</c:v>
                </c:pt>
                <c:pt idx="1649">
                  <c:v>0.10505579125391529</c:v>
                </c:pt>
                <c:pt idx="1650">
                  <c:v>9.5631695723224858E-2</c:v>
                </c:pt>
                <c:pt idx="1651">
                  <c:v>8.857422394253589E-2</c:v>
                </c:pt>
                <c:pt idx="1652">
                  <c:v>8.1314209867713996E-2</c:v>
                </c:pt>
                <c:pt idx="1653">
                  <c:v>7.3730335425073026E-2</c:v>
                </c:pt>
                <c:pt idx="1654">
                  <c:v>6.2353076182725883E-2</c:v>
                </c:pt>
                <c:pt idx="1655">
                  <c:v>5.1558209099800079E-2</c:v>
                </c:pt>
                <c:pt idx="1656">
                  <c:v>3.8416007762704027E-2</c:v>
                </c:pt>
                <c:pt idx="1657">
                  <c:v>3.6113785804224169E-2</c:v>
                </c:pt>
                <c:pt idx="1658">
                  <c:v>3.3988783048113209E-2</c:v>
                </c:pt>
                <c:pt idx="1659">
                  <c:v>3.1188439068776535E-2</c:v>
                </c:pt>
                <c:pt idx="1660">
                  <c:v>2.7807051286454977E-2</c:v>
                </c:pt>
                <c:pt idx="1661">
                  <c:v>2.4795347225328088E-2</c:v>
                </c:pt>
                <c:pt idx="1662">
                  <c:v>2.0740882899391432E-2</c:v>
                </c:pt>
                <c:pt idx="1663">
                  <c:v>2.0884376884604296E-2</c:v>
                </c:pt>
                <c:pt idx="1664">
                  <c:v>2.0584754586908713E-2</c:v>
                </c:pt>
                <c:pt idx="1665">
                  <c:v>2.1463182960917957E-2</c:v>
                </c:pt>
                <c:pt idx="1666">
                  <c:v>2.1334046538355085E-2</c:v>
                </c:pt>
                <c:pt idx="1667">
                  <c:v>2.1685575340355936E-2</c:v>
                </c:pt>
                <c:pt idx="1668">
                  <c:v>2.2333739283599059E-2</c:v>
                </c:pt>
                <c:pt idx="1669">
                  <c:v>2.2224257220050465E-2</c:v>
                </c:pt>
                <c:pt idx="1670">
                  <c:v>2.2106546355558244E-2</c:v>
                </c:pt>
                <c:pt idx="1671">
                  <c:v>2.2430566568623415E-2</c:v>
                </c:pt>
                <c:pt idx="1672">
                  <c:v>2.2859336228447186E-2</c:v>
                </c:pt>
                <c:pt idx="1673">
                  <c:v>2.2914389267985318E-2</c:v>
                </c:pt>
                <c:pt idx="1674">
                  <c:v>2.4104269829597201E-2</c:v>
                </c:pt>
                <c:pt idx="1675">
                  <c:v>2.5488246436939872E-2</c:v>
                </c:pt>
                <c:pt idx="1676">
                  <c:v>2.7912935839488926E-2</c:v>
                </c:pt>
                <c:pt idx="1677">
                  <c:v>2.7150588433087468E-2</c:v>
                </c:pt>
                <c:pt idx="1678">
                  <c:v>2.5022231196823098E-2</c:v>
                </c:pt>
                <c:pt idx="1679">
                  <c:v>2.203494231430796E-2</c:v>
                </c:pt>
                <c:pt idx="1680">
                  <c:v>1.5323132269298451E-2</c:v>
                </c:pt>
                <c:pt idx="1681">
                  <c:v>1.5563618069468254E-2</c:v>
                </c:pt>
                <c:pt idx="1682">
                  <c:v>1.6217995239395731E-2</c:v>
                </c:pt>
                <c:pt idx="1683">
                  <c:v>1.6456460499014475E-2</c:v>
                </c:pt>
                <c:pt idx="1684">
                  <c:v>1.6705558693399278E-2</c:v>
                </c:pt>
                <c:pt idx="1685">
                  <c:v>1.6958454184494504E-2</c:v>
                </c:pt>
                <c:pt idx="1686">
                  <c:v>1.7572042683936678E-2</c:v>
                </c:pt>
                <c:pt idx="1687">
                  <c:v>1.8722530170897853E-2</c:v>
                </c:pt>
                <c:pt idx="1688">
                  <c:v>2.1889244911179287E-2</c:v>
                </c:pt>
                <c:pt idx="1689">
                  <c:v>2.664111803922745E-2</c:v>
                </c:pt>
                <c:pt idx="1690">
                  <c:v>3.5656332374830159E-2</c:v>
                </c:pt>
                <c:pt idx="1691">
                  <c:v>6.2114245882357227E-2</c:v>
                </c:pt>
                <c:pt idx="1692">
                  <c:v>9.3956916806867477E-2</c:v>
                </c:pt>
                <c:pt idx="1693">
                  <c:v>0.11597489795740119</c:v>
                </c:pt>
                <c:pt idx="1694">
                  <c:v>0.12769791695834773</c:v>
                </c:pt>
                <c:pt idx="1695">
                  <c:v>0.13709614391389466</c:v>
                </c:pt>
                <c:pt idx="1696">
                  <c:v>0.14392987690269576</c:v>
                </c:pt>
                <c:pt idx="1697">
                  <c:v>0.14925434380566008</c:v>
                </c:pt>
                <c:pt idx="1698">
                  <c:v>0.15141264114291031</c:v>
                </c:pt>
                <c:pt idx="1699">
                  <c:v>0.15239575939397657</c:v>
                </c:pt>
                <c:pt idx="1700">
                  <c:v>0.15161978632451018</c:v>
                </c:pt>
                <c:pt idx="1701">
                  <c:v>0.15056807480126361</c:v>
                </c:pt>
                <c:pt idx="1702">
                  <c:v>0.14944327784228115</c:v>
                </c:pt>
                <c:pt idx="1703">
                  <c:v>0.148113749707172</c:v>
                </c:pt>
                <c:pt idx="1704">
                  <c:v>0.14638181260493791</c:v>
                </c:pt>
                <c:pt idx="1705">
                  <c:v>0.14437776643719666</c:v>
                </c:pt>
                <c:pt idx="1706">
                  <c:v>0.14249694761168261</c:v>
                </c:pt>
                <c:pt idx="1707">
                  <c:v>0.1400240028964013</c:v>
                </c:pt>
                <c:pt idx="1708">
                  <c:v>0.13748040144465151</c:v>
                </c:pt>
                <c:pt idx="1709">
                  <c:v>0.1347767880298735</c:v>
                </c:pt>
                <c:pt idx="1710">
                  <c:v>0.13118376939779991</c:v>
                </c:pt>
                <c:pt idx="1711">
                  <c:v>0.12765852099440922</c:v>
                </c:pt>
                <c:pt idx="1712">
                  <c:v>0.12373278540729427</c:v>
                </c:pt>
                <c:pt idx="1713">
                  <c:v>0.11937762999543204</c:v>
                </c:pt>
                <c:pt idx="1714">
                  <c:v>0.11463830599626401</c:v>
                </c:pt>
                <c:pt idx="1715">
                  <c:v>0.109822202128828</c:v>
                </c:pt>
                <c:pt idx="1716">
                  <c:v>0.10368334434641291</c:v>
                </c:pt>
                <c:pt idx="1717">
                  <c:v>9.7816922836371389E-2</c:v>
                </c:pt>
                <c:pt idx="1718">
                  <c:v>9.2383384949578262E-2</c:v>
                </c:pt>
                <c:pt idx="1719">
                  <c:v>8.7742222358999908E-2</c:v>
                </c:pt>
                <c:pt idx="1720">
                  <c:v>8.5657823938235428E-2</c:v>
                </c:pt>
                <c:pt idx="1721">
                  <c:v>8.3972669430537841E-2</c:v>
                </c:pt>
                <c:pt idx="1722">
                  <c:v>7.4671724927409297E-2</c:v>
                </c:pt>
                <c:pt idx="1723">
                  <c:v>6.268481811536375E-2</c:v>
                </c:pt>
                <c:pt idx="1724">
                  <c:v>4.6451744791589394E-2</c:v>
                </c:pt>
                <c:pt idx="1725">
                  <c:v>3.5551993713132043E-2</c:v>
                </c:pt>
                <c:pt idx="1726">
                  <c:v>2.566402971452364E-2</c:v>
                </c:pt>
                <c:pt idx="1727">
                  <c:v>1.2106237053068262E-2</c:v>
                </c:pt>
                <c:pt idx="1728">
                  <c:v>1.2650859393369129E-3</c:v>
                </c:pt>
                <c:pt idx="1729">
                  <c:v>-7.8073873740027982E-3</c:v>
                </c:pt>
                <c:pt idx="1730">
                  <c:v>-8.1005285948791955E-3</c:v>
                </c:pt>
                <c:pt idx="1731">
                  <c:v>-8.7053730306463298E-3</c:v>
                </c:pt>
                <c:pt idx="1732">
                  <c:v>-8.672001412120503E-3</c:v>
                </c:pt>
                <c:pt idx="1733">
                  <c:v>-8.7292560632934203E-3</c:v>
                </c:pt>
                <c:pt idx="1734">
                  <c:v>-8.7799773148857004E-3</c:v>
                </c:pt>
                <c:pt idx="1735">
                  <c:v>-8.6749740056426532E-3</c:v>
                </c:pt>
                <c:pt idx="1736">
                  <c:v>-8.4063535213747889E-3</c:v>
                </c:pt>
                <c:pt idx="1737">
                  <c:v>-8.5746165051406031E-3</c:v>
                </c:pt>
                <c:pt idx="1738">
                  <c:v>-8.1978670144016719E-3</c:v>
                </c:pt>
                <c:pt idx="1739">
                  <c:v>-7.8964227454392764E-3</c:v>
                </c:pt>
                <c:pt idx="1740">
                  <c:v>-7.8564175466891879E-3</c:v>
                </c:pt>
                <c:pt idx="1741">
                  <c:v>-7.3108890264546372E-3</c:v>
                </c:pt>
                <c:pt idx="1742">
                  <c:v>-6.5023130078655459E-3</c:v>
                </c:pt>
                <c:pt idx="1743">
                  <c:v>-6.074662536920729E-3</c:v>
                </c:pt>
                <c:pt idx="1744">
                  <c:v>-4.9762158888428769E-3</c:v>
                </c:pt>
                <c:pt idx="1745">
                  <c:v>-4.0013545128027433E-3</c:v>
                </c:pt>
                <c:pt idx="1746">
                  <c:v>-2.8458545087811978E-3</c:v>
                </c:pt>
                <c:pt idx="1747">
                  <c:v>-1.2761000075910706E-3</c:v>
                </c:pt>
                <c:pt idx="1748">
                  <c:v>8.7991439758710113E-4</c:v>
                </c:pt>
                <c:pt idx="1749">
                  <c:v>4.4192430873457155E-3</c:v>
                </c:pt>
                <c:pt idx="1750">
                  <c:v>7.272246914088178E-3</c:v>
                </c:pt>
                <c:pt idx="1751">
                  <c:v>7.3268045057819017E-3</c:v>
                </c:pt>
                <c:pt idx="1752">
                  <c:v>6.6933729021516055E-3</c:v>
                </c:pt>
                <c:pt idx="1753">
                  <c:v>6.9830990884689817E-3</c:v>
                </c:pt>
                <c:pt idx="1754">
                  <c:v>6.9451587809513105E-3</c:v>
                </c:pt>
                <c:pt idx="1755">
                  <c:v>6.8704996492467175E-3</c:v>
                </c:pt>
                <c:pt idx="1756">
                  <c:v>6.771105113397945E-3</c:v>
                </c:pt>
                <c:pt idx="1757">
                  <c:v>6.8964554199167733E-3</c:v>
                </c:pt>
                <c:pt idx="1758">
                  <c:v>7.3835986786482295E-3</c:v>
                </c:pt>
                <c:pt idx="1759">
                  <c:v>7.1252187143183657E-3</c:v>
                </c:pt>
                <c:pt idx="1760">
                  <c:v>7.9586043691381413E-3</c:v>
                </c:pt>
                <c:pt idx="1761">
                  <c:v>8.0266747950939188E-3</c:v>
                </c:pt>
                <c:pt idx="1762">
                  <c:v>8.8939841624285278E-3</c:v>
                </c:pt>
                <c:pt idx="1763">
                  <c:v>9.2137913122996937E-3</c:v>
                </c:pt>
                <c:pt idx="1764">
                  <c:v>9.6404617838307567E-3</c:v>
                </c:pt>
                <c:pt idx="1765">
                  <c:v>1.0175274723081263E-2</c:v>
                </c:pt>
                <c:pt idx="1766">
                  <c:v>1.0631796990334058E-2</c:v>
                </c:pt>
                <c:pt idx="1767">
                  <c:v>1.1142443526083023E-2</c:v>
                </c:pt>
                <c:pt idx="1768">
                  <c:v>1.1628849396015339E-2</c:v>
                </c:pt>
                <c:pt idx="1769">
                  <c:v>1.2431052390181455E-2</c:v>
                </c:pt>
                <c:pt idx="1770">
                  <c:v>1.2990021552511617E-2</c:v>
                </c:pt>
                <c:pt idx="1771">
                  <c:v>1.3070516689906829E-2</c:v>
                </c:pt>
                <c:pt idx="1772">
                  <c:v>1.3423944628500443E-2</c:v>
                </c:pt>
                <c:pt idx="1773">
                  <c:v>1.4073691745413489E-2</c:v>
                </c:pt>
                <c:pt idx="1774">
                  <c:v>1.4453259839522888E-2</c:v>
                </c:pt>
                <c:pt idx="1775">
                  <c:v>1.4494797339750058E-2</c:v>
                </c:pt>
                <c:pt idx="1776">
                  <c:v>1.5055200281905592E-2</c:v>
                </c:pt>
                <c:pt idx="1777">
                  <c:v>1.5127345577091883E-2</c:v>
                </c:pt>
                <c:pt idx="1778">
                  <c:v>1.537912455916691E-2</c:v>
                </c:pt>
                <c:pt idx="1779">
                  <c:v>1.5709214949137962E-2</c:v>
                </c:pt>
                <c:pt idx="1780">
                  <c:v>1.5848870898514795E-2</c:v>
                </c:pt>
                <c:pt idx="1781">
                  <c:v>1.6040264480780931E-2</c:v>
                </c:pt>
                <c:pt idx="1782">
                  <c:v>1.7186310368273269E-2</c:v>
                </c:pt>
                <c:pt idx="1783">
                  <c:v>1.9327915762872201E-2</c:v>
                </c:pt>
                <c:pt idx="1784">
                  <c:v>2.1011471533200481E-2</c:v>
                </c:pt>
                <c:pt idx="1785">
                  <c:v>2.2430858074570438E-2</c:v>
                </c:pt>
                <c:pt idx="1786">
                  <c:v>2.5902511930802324E-2</c:v>
                </c:pt>
                <c:pt idx="1787">
                  <c:v>2.9343263251524102E-2</c:v>
                </c:pt>
                <c:pt idx="1788">
                  <c:v>3.3005415619782395E-2</c:v>
                </c:pt>
                <c:pt idx="1789">
                  <c:v>3.710641207802251E-2</c:v>
                </c:pt>
                <c:pt idx="1790">
                  <c:v>4.144892842686345E-2</c:v>
                </c:pt>
                <c:pt idx="1791">
                  <c:v>4.6271525778812342E-2</c:v>
                </c:pt>
                <c:pt idx="1792">
                  <c:v>5.0898242355240306E-2</c:v>
                </c:pt>
                <c:pt idx="1793">
                  <c:v>5.2505622438261006E-2</c:v>
                </c:pt>
                <c:pt idx="1794">
                  <c:v>5.6375393263309002E-2</c:v>
                </c:pt>
                <c:pt idx="1795">
                  <c:v>5.8663374757118497E-2</c:v>
                </c:pt>
                <c:pt idx="1796">
                  <c:v>6.2011802837481693E-2</c:v>
                </c:pt>
                <c:pt idx="1797">
                  <c:v>6.449494223119033E-2</c:v>
                </c:pt>
                <c:pt idx="1798">
                  <c:v>6.7067576981799881E-2</c:v>
                </c:pt>
                <c:pt idx="1799">
                  <c:v>6.9401233359011147E-2</c:v>
                </c:pt>
                <c:pt idx="1800">
                  <c:v>7.10772131562252E-2</c:v>
                </c:pt>
                <c:pt idx="1801">
                  <c:v>7.1793725037786679E-2</c:v>
                </c:pt>
                <c:pt idx="1802">
                  <c:v>7.3037015626457896E-2</c:v>
                </c:pt>
                <c:pt idx="1803">
                  <c:v>7.3821194099943782E-2</c:v>
                </c:pt>
                <c:pt idx="1804">
                  <c:v>7.3742119640146694E-2</c:v>
                </c:pt>
                <c:pt idx="1805">
                  <c:v>7.6008100832446551E-2</c:v>
                </c:pt>
                <c:pt idx="1806">
                  <c:v>8.1606995097517995E-2</c:v>
                </c:pt>
                <c:pt idx="1807">
                  <c:v>8.6357912738536644E-2</c:v>
                </c:pt>
                <c:pt idx="1808">
                  <c:v>9.2183882639606488E-2</c:v>
                </c:pt>
                <c:pt idx="1809">
                  <c:v>9.6043828300225759E-2</c:v>
                </c:pt>
                <c:pt idx="1810">
                  <c:v>9.927034809594816E-2</c:v>
                </c:pt>
                <c:pt idx="1811">
                  <c:v>0.10084623956565333</c:v>
                </c:pt>
                <c:pt idx="1812">
                  <c:v>0.10138407171100436</c:v>
                </c:pt>
                <c:pt idx="1813">
                  <c:v>0.10190436700432004</c:v>
                </c:pt>
                <c:pt idx="1814">
                  <c:v>0.10105863006184977</c:v>
                </c:pt>
                <c:pt idx="1815">
                  <c:v>9.9349188194975444E-2</c:v>
                </c:pt>
                <c:pt idx="1816">
                  <c:v>9.8460856078847761E-2</c:v>
                </c:pt>
                <c:pt idx="1817">
                  <c:v>9.5945849268585529E-2</c:v>
                </c:pt>
                <c:pt idx="1818">
                  <c:v>9.3982025230169242E-2</c:v>
                </c:pt>
                <c:pt idx="1819">
                  <c:v>9.2270043853221739E-2</c:v>
                </c:pt>
                <c:pt idx="1820">
                  <c:v>8.8477981675840173E-2</c:v>
                </c:pt>
                <c:pt idx="1821">
                  <c:v>8.6534505542760501E-2</c:v>
                </c:pt>
                <c:pt idx="1822">
                  <c:v>8.2841851580565298E-2</c:v>
                </c:pt>
                <c:pt idx="1823">
                  <c:v>7.8616857376774624E-2</c:v>
                </c:pt>
                <c:pt idx="1824">
                  <c:v>7.4125284083261453E-2</c:v>
                </c:pt>
                <c:pt idx="1825">
                  <c:v>6.9748603932520983E-2</c:v>
                </c:pt>
                <c:pt idx="1826">
                  <c:v>6.5820708366781361E-2</c:v>
                </c:pt>
                <c:pt idx="1827">
                  <c:v>6.1604981766577027E-2</c:v>
                </c:pt>
                <c:pt idx="1828">
                  <c:v>5.7858888380944745E-2</c:v>
                </c:pt>
                <c:pt idx="1829">
                  <c:v>5.4121082469265308E-2</c:v>
                </c:pt>
                <c:pt idx="1830">
                  <c:v>4.9706646238800826E-2</c:v>
                </c:pt>
                <c:pt idx="1831">
                  <c:v>4.4408614826583315E-2</c:v>
                </c:pt>
                <c:pt idx="1832">
                  <c:v>3.8419373159548367E-2</c:v>
                </c:pt>
                <c:pt idx="1833">
                  <c:v>2.7602025082213481E-2</c:v>
                </c:pt>
                <c:pt idx="1834">
                  <c:v>1.6623140225279068E-2</c:v>
                </c:pt>
                <c:pt idx="1835">
                  <c:v>8.3072406586408194E-3</c:v>
                </c:pt>
                <c:pt idx="1836">
                  <c:v>4.4361590359163622E-3</c:v>
                </c:pt>
                <c:pt idx="1837">
                  <c:v>1.3638647679693368E-3</c:v>
                </c:pt>
                <c:pt idx="1838">
                  <c:v>1.1699540919261828E-3</c:v>
                </c:pt>
                <c:pt idx="1839">
                  <c:v>1.0939965169070621E-3</c:v>
                </c:pt>
                <c:pt idx="1840">
                  <c:v>1.0850822598320858E-3</c:v>
                </c:pt>
                <c:pt idx="1841">
                  <c:v>1.2634132116088204E-3</c:v>
                </c:pt>
                <c:pt idx="1842">
                  <c:v>1.3692915722564834E-3</c:v>
                </c:pt>
                <c:pt idx="1843">
                  <c:v>1.6698518194741005E-3</c:v>
                </c:pt>
                <c:pt idx="1844">
                  <c:v>2.4712119246650451E-3</c:v>
                </c:pt>
                <c:pt idx="1845">
                  <c:v>3.2452051989445554E-3</c:v>
                </c:pt>
                <c:pt idx="1846">
                  <c:v>3.7136183246231228E-3</c:v>
                </c:pt>
                <c:pt idx="1847">
                  <c:v>4.1067071610465279E-3</c:v>
                </c:pt>
                <c:pt idx="1848">
                  <c:v>4.4331631929804124E-3</c:v>
                </c:pt>
                <c:pt idx="1849">
                  <c:v>4.7297930071306376E-3</c:v>
                </c:pt>
                <c:pt idx="1850">
                  <c:v>5.3888924874312648E-3</c:v>
                </c:pt>
                <c:pt idx="1851">
                  <c:v>5.8556648683172749E-3</c:v>
                </c:pt>
                <c:pt idx="1852">
                  <c:v>6.0594213016992998E-3</c:v>
                </c:pt>
                <c:pt idx="1853">
                  <c:v>6.2960233835513239E-3</c:v>
                </c:pt>
                <c:pt idx="1854">
                  <c:v>6.8987005872681523E-3</c:v>
                </c:pt>
                <c:pt idx="1855">
                  <c:v>6.6920508049165967E-3</c:v>
                </c:pt>
                <c:pt idx="1856">
                  <c:v>6.9880783674660073E-3</c:v>
                </c:pt>
                <c:pt idx="1857">
                  <c:v>7.2811281706423696E-3</c:v>
                </c:pt>
                <c:pt idx="1858">
                  <c:v>7.2845754697413046E-3</c:v>
                </c:pt>
                <c:pt idx="1859">
                  <c:v>7.2719323646976471E-3</c:v>
                </c:pt>
                <c:pt idx="1860">
                  <c:v>7.2767460243946831E-3</c:v>
                </c:pt>
                <c:pt idx="1861">
                  <c:v>7.2184550994481306E-3</c:v>
                </c:pt>
                <c:pt idx="1862">
                  <c:v>7.2343053477866267E-3</c:v>
                </c:pt>
                <c:pt idx="1863">
                  <c:v>7.4834675378959575E-3</c:v>
                </c:pt>
                <c:pt idx="1864">
                  <c:v>7.2234039701335045E-3</c:v>
                </c:pt>
                <c:pt idx="1865">
                  <c:v>7.1621208135263289E-3</c:v>
                </c:pt>
                <c:pt idx="1866">
                  <c:v>7.0607110129490011E-3</c:v>
                </c:pt>
                <c:pt idx="1867">
                  <c:v>7.0234226693142781E-3</c:v>
                </c:pt>
                <c:pt idx="1868">
                  <c:v>6.9371180749208767E-3</c:v>
                </c:pt>
                <c:pt idx="1869">
                  <c:v>6.9762977077651835E-3</c:v>
                </c:pt>
                <c:pt idx="1870">
                  <c:v>6.9836850643559068E-3</c:v>
                </c:pt>
                <c:pt idx="1871">
                  <c:v>7.0167495452734844E-3</c:v>
                </c:pt>
                <c:pt idx="1872">
                  <c:v>6.9656996115286E-3</c:v>
                </c:pt>
                <c:pt idx="1873">
                  <c:v>6.9387466849467885E-3</c:v>
                </c:pt>
                <c:pt idx="1874">
                  <c:v>6.5163558464539882E-3</c:v>
                </c:pt>
                <c:pt idx="1875">
                  <c:v>6.3578316894960492E-3</c:v>
                </c:pt>
                <c:pt idx="1876">
                  <c:v>6.2151794986599444E-3</c:v>
                </c:pt>
                <c:pt idx="1877">
                  <c:v>6.1459381976169672E-3</c:v>
                </c:pt>
                <c:pt idx="1878">
                  <c:v>6.1125748452299736E-3</c:v>
                </c:pt>
                <c:pt idx="1879">
                  <c:v>6.0694700456892393E-3</c:v>
                </c:pt>
                <c:pt idx="1880">
                  <c:v>5.5217275895963827E-3</c:v>
                </c:pt>
                <c:pt idx="1881">
                  <c:v>4.8591748150773493E-3</c:v>
                </c:pt>
                <c:pt idx="1882">
                  <c:v>4.5238493316279412E-3</c:v>
                </c:pt>
                <c:pt idx="1883">
                  <c:v>4.3063994208993196E-3</c:v>
                </c:pt>
                <c:pt idx="1884">
                  <c:v>4.1709778395909525E-3</c:v>
                </c:pt>
                <c:pt idx="1885">
                  <c:v>3.907415975323853E-3</c:v>
                </c:pt>
                <c:pt idx="1886">
                  <c:v>3.4770191710156678E-3</c:v>
                </c:pt>
                <c:pt idx="1887">
                  <c:v>3.1547125367662361E-3</c:v>
                </c:pt>
                <c:pt idx="1888">
                  <c:v>2.9699273638171654E-3</c:v>
                </c:pt>
                <c:pt idx="1889">
                  <c:v>2.4953178519336763E-3</c:v>
                </c:pt>
                <c:pt idx="1890">
                  <c:v>1.9884824149516661E-3</c:v>
                </c:pt>
                <c:pt idx="1891">
                  <c:v>1.8399242034426828E-3</c:v>
                </c:pt>
                <c:pt idx="1892">
                  <c:v>1.335911852854089E-3</c:v>
                </c:pt>
                <c:pt idx="1893">
                  <c:v>5.6556565682926402E-4</c:v>
                </c:pt>
                <c:pt idx="1894">
                  <c:v>2.7918256350678062E-4</c:v>
                </c:pt>
                <c:pt idx="1895">
                  <c:v>-5.4807943959701155E-5</c:v>
                </c:pt>
                <c:pt idx="1896">
                  <c:v>-6.7681523764818671E-4</c:v>
                </c:pt>
                <c:pt idx="1897">
                  <c:v>-1.6537262835812493E-3</c:v>
                </c:pt>
                <c:pt idx="1898">
                  <c:v>-2.7185955416931073E-3</c:v>
                </c:pt>
                <c:pt idx="1899">
                  <c:v>-3.5856291960015764E-3</c:v>
                </c:pt>
                <c:pt idx="1900">
                  <c:v>-4.4004364243671219E-3</c:v>
                </c:pt>
                <c:pt idx="1901">
                  <c:v>-5.0329387262472878E-3</c:v>
                </c:pt>
                <c:pt idx="1902">
                  <c:v>-5.6271048009218323E-3</c:v>
                </c:pt>
                <c:pt idx="1903">
                  <c:v>-6.108253559145964E-3</c:v>
                </c:pt>
                <c:pt idx="1904">
                  <c:v>-5.4772275493789203E-3</c:v>
                </c:pt>
                <c:pt idx="1905">
                  <c:v>-5.2963705961646575E-3</c:v>
                </c:pt>
                <c:pt idx="1906">
                  <c:v>-4.9909734197503908E-3</c:v>
                </c:pt>
                <c:pt idx="1907">
                  <c:v>-4.8372983125470441E-3</c:v>
                </c:pt>
                <c:pt idx="1908">
                  <c:v>-4.3628667210139291E-3</c:v>
                </c:pt>
                <c:pt idx="1909">
                  <c:v>-4.1463549443587037E-3</c:v>
                </c:pt>
                <c:pt idx="1910">
                  <c:v>-4.1636582032796967E-3</c:v>
                </c:pt>
                <c:pt idx="1911">
                  <c:v>-3.8534372633022692E-3</c:v>
                </c:pt>
                <c:pt idx="1912">
                  <c:v>-3.5417770907825163E-3</c:v>
                </c:pt>
                <c:pt idx="1913">
                  <c:v>-3.627661388856018E-3</c:v>
                </c:pt>
                <c:pt idx="1914">
                  <c:v>-3.5205169763166001E-3</c:v>
                </c:pt>
                <c:pt idx="1915">
                  <c:v>-3.0895133851920704E-3</c:v>
                </c:pt>
                <c:pt idx="1916">
                  <c:v>-2.9533786014741162E-3</c:v>
                </c:pt>
                <c:pt idx="1917">
                  <c:v>-2.6649665771140644E-3</c:v>
                </c:pt>
                <c:pt idx="1918">
                  <c:v>-2.2761318732958179E-3</c:v>
                </c:pt>
                <c:pt idx="1919">
                  <c:v>-1.9432921154236562E-3</c:v>
                </c:pt>
                <c:pt idx="1920">
                  <c:v>-1.6930064085163225E-3</c:v>
                </c:pt>
                <c:pt idx="1921">
                  <c:v>-1.1900107401923894E-3</c:v>
                </c:pt>
                <c:pt idx="1922">
                  <c:v>-6.1886817873106452E-4</c:v>
                </c:pt>
                <c:pt idx="1923">
                  <c:v>-2.2775374992592033E-4</c:v>
                </c:pt>
                <c:pt idx="1924">
                  <c:v>9.9823141543993238E-5</c:v>
                </c:pt>
                <c:pt idx="1925">
                  <c:v>4.8962287032890909E-4</c:v>
                </c:pt>
                <c:pt idx="1926">
                  <c:v>9.7091891437744104E-4</c:v>
                </c:pt>
                <c:pt idx="1927">
                  <c:v>1.1293087717458574E-3</c:v>
                </c:pt>
                <c:pt idx="1928">
                  <c:v>9.6350677755010269E-4</c:v>
                </c:pt>
                <c:pt idx="1929">
                  <c:v>7.5179869038305793E-4</c:v>
                </c:pt>
                <c:pt idx="1930">
                  <c:v>6.7640830490616659E-4</c:v>
                </c:pt>
                <c:pt idx="1931">
                  <c:v>5.4628435116741553E-4</c:v>
                </c:pt>
                <c:pt idx="1932">
                  <c:v>6.01817389006393E-4</c:v>
                </c:pt>
                <c:pt idx="1933">
                  <c:v>3.5141505318779878E-4</c:v>
                </c:pt>
                <c:pt idx="1934">
                  <c:v>7.6426352904018834E-4</c:v>
                </c:pt>
                <c:pt idx="1935">
                  <c:v>8.1943174544604693E-4</c:v>
                </c:pt>
                <c:pt idx="1936">
                  <c:v>6.573758501480897E-4</c:v>
                </c:pt>
                <c:pt idx="1937">
                  <c:v>8.6248977548106633E-4</c:v>
                </c:pt>
                <c:pt idx="1938">
                  <c:v>1.0463287362241095E-3</c:v>
                </c:pt>
                <c:pt idx="1939">
                  <c:v>1.0311577795523719E-3</c:v>
                </c:pt>
                <c:pt idx="1940">
                  <c:v>1.3610679386137168E-3</c:v>
                </c:pt>
                <c:pt idx="1941">
                  <c:v>1.7048284515446097E-3</c:v>
                </c:pt>
                <c:pt idx="1942">
                  <c:v>1.7021319080703979E-3</c:v>
                </c:pt>
                <c:pt idx="1943">
                  <c:v>1.9111540615231199E-3</c:v>
                </c:pt>
                <c:pt idx="1944">
                  <c:v>2.0197795728277195E-3</c:v>
                </c:pt>
                <c:pt idx="1945">
                  <c:v>1.9988978870251789E-3</c:v>
                </c:pt>
                <c:pt idx="1946">
                  <c:v>2.2036533338385556E-3</c:v>
                </c:pt>
                <c:pt idx="1947">
                  <c:v>2.2797769169682707E-3</c:v>
                </c:pt>
                <c:pt idx="1948">
                  <c:v>2.3884769855641269E-3</c:v>
                </c:pt>
                <c:pt idx="1949">
                  <c:v>2.6636448069284825E-3</c:v>
                </c:pt>
                <c:pt idx="1950">
                  <c:v>3.109417423575444E-3</c:v>
                </c:pt>
                <c:pt idx="1951">
                  <c:v>3.1537505117241855E-3</c:v>
                </c:pt>
                <c:pt idx="1952">
                  <c:v>3.5075740030056798E-3</c:v>
                </c:pt>
                <c:pt idx="1953">
                  <c:v>3.737899658237408E-3</c:v>
                </c:pt>
                <c:pt idx="1954">
                  <c:v>4.0144169043684072E-3</c:v>
                </c:pt>
                <c:pt idx="1955">
                  <c:v>4.2947210742922265E-3</c:v>
                </c:pt>
                <c:pt idx="1956">
                  <c:v>4.599740239406608E-3</c:v>
                </c:pt>
                <c:pt idx="1957">
                  <c:v>4.882893860911698E-3</c:v>
                </c:pt>
                <c:pt idx="1958">
                  <c:v>5.4423794199631292E-3</c:v>
                </c:pt>
                <c:pt idx="1959">
                  <c:v>5.9007302802629264E-3</c:v>
                </c:pt>
                <c:pt idx="1960">
                  <c:v>6.4357392928618157E-3</c:v>
                </c:pt>
                <c:pt idx="1961">
                  <c:v>6.8348478214239608E-3</c:v>
                </c:pt>
                <c:pt idx="1962">
                  <c:v>6.9281839974718387E-3</c:v>
                </c:pt>
                <c:pt idx="1963">
                  <c:v>7.486310244240341E-3</c:v>
                </c:pt>
                <c:pt idx="1964">
                  <c:v>7.6918394692855547E-3</c:v>
                </c:pt>
                <c:pt idx="1965">
                  <c:v>7.8427724291496373E-3</c:v>
                </c:pt>
                <c:pt idx="1966">
                  <c:v>8.2263806060171602E-3</c:v>
                </c:pt>
                <c:pt idx="1967">
                  <c:v>8.5381650845333737E-3</c:v>
                </c:pt>
                <c:pt idx="1968">
                  <c:v>8.4036891284351139E-3</c:v>
                </c:pt>
                <c:pt idx="1969">
                  <c:v>8.6082136315933123E-3</c:v>
                </c:pt>
                <c:pt idx="1970">
                  <c:v>8.6097025866323056E-3</c:v>
                </c:pt>
                <c:pt idx="1971">
                  <c:v>8.1924330015508695E-3</c:v>
                </c:pt>
                <c:pt idx="1972">
                  <c:v>8.1725887307806146E-3</c:v>
                </c:pt>
                <c:pt idx="1973">
                  <c:v>7.994368464778934E-3</c:v>
                </c:pt>
                <c:pt idx="1974">
                  <c:v>7.7277787394829864E-3</c:v>
                </c:pt>
                <c:pt idx="1975">
                  <c:v>7.4898280644146789E-3</c:v>
                </c:pt>
                <c:pt idx="1976">
                  <c:v>7.3593921377518605E-3</c:v>
                </c:pt>
                <c:pt idx="1977">
                  <c:v>7.0202387457886945E-3</c:v>
                </c:pt>
                <c:pt idx="1978">
                  <c:v>6.5330297724010876E-3</c:v>
                </c:pt>
                <c:pt idx="1979">
                  <c:v>5.5944082262475905E-3</c:v>
                </c:pt>
                <c:pt idx="1980">
                  <c:v>5.5092366161428683E-3</c:v>
                </c:pt>
                <c:pt idx="1981">
                  <c:v>5.5048099822745215E-3</c:v>
                </c:pt>
                <c:pt idx="1982">
                  <c:v>5.5952839699943387E-3</c:v>
                </c:pt>
                <c:pt idx="1983">
                  <c:v>5.8890223689796392E-3</c:v>
                </c:pt>
                <c:pt idx="1984">
                  <c:v>5.8408648259144847E-3</c:v>
                </c:pt>
                <c:pt idx="1985">
                  <c:v>6.9670650600192506E-3</c:v>
                </c:pt>
                <c:pt idx="1986">
                  <c:v>7.19004848431675E-3</c:v>
                </c:pt>
                <c:pt idx="1987">
                  <c:v>7.2394006101422648E-3</c:v>
                </c:pt>
                <c:pt idx="1988">
                  <c:v>7.0552122700014118E-3</c:v>
                </c:pt>
                <c:pt idx="1989">
                  <c:v>7.082919690076535E-3</c:v>
                </c:pt>
                <c:pt idx="1990">
                  <c:v>7.7019283126950819E-3</c:v>
                </c:pt>
                <c:pt idx="1991">
                  <c:v>7.6557448559341126E-3</c:v>
                </c:pt>
                <c:pt idx="1992">
                  <c:v>7.6941653003192549E-3</c:v>
                </c:pt>
                <c:pt idx="1993">
                  <c:v>7.6686453319210401E-3</c:v>
                </c:pt>
                <c:pt idx="1994">
                  <c:v>7.7029847734550686E-3</c:v>
                </c:pt>
                <c:pt idx="1995">
                  <c:v>7.7331220125726619E-3</c:v>
                </c:pt>
                <c:pt idx="1996">
                  <c:v>7.7258996829363494E-3</c:v>
                </c:pt>
                <c:pt idx="1997">
                  <c:v>7.7581863104068775E-3</c:v>
                </c:pt>
                <c:pt idx="1998">
                  <c:v>7.7997997112173477E-3</c:v>
                </c:pt>
                <c:pt idx="1999">
                  <c:v>7.8467824363533424E-3</c:v>
                </c:pt>
                <c:pt idx="2000">
                  <c:v>7.9709087242228003E-3</c:v>
                </c:pt>
                <c:pt idx="2001">
                  <c:v>8.0881124633295706E-3</c:v>
                </c:pt>
                <c:pt idx="2002">
                  <c:v>7.9916004353642531E-3</c:v>
                </c:pt>
                <c:pt idx="2003">
                  <c:v>8.1294279101727963E-3</c:v>
                </c:pt>
                <c:pt idx="2004">
                  <c:v>8.2685019007862973E-3</c:v>
                </c:pt>
                <c:pt idx="2005">
                  <c:v>8.3794401171380668E-3</c:v>
                </c:pt>
                <c:pt idx="2006">
                  <c:v>8.2820798477242826E-3</c:v>
                </c:pt>
                <c:pt idx="2007">
                  <c:v>8.3323825306239607E-3</c:v>
                </c:pt>
                <c:pt idx="2008">
                  <c:v>8.444137862931923E-3</c:v>
                </c:pt>
                <c:pt idx="2009">
                  <c:v>8.402853621115482E-3</c:v>
                </c:pt>
                <c:pt idx="2010">
                  <c:v>8.3915087178419463E-3</c:v>
                </c:pt>
                <c:pt idx="2011">
                  <c:v>8.485317906378265E-3</c:v>
                </c:pt>
                <c:pt idx="2012">
                  <c:v>8.345114188078125E-3</c:v>
                </c:pt>
                <c:pt idx="2013">
                  <c:v>7.9926532971614506E-3</c:v>
                </c:pt>
                <c:pt idx="2014">
                  <c:v>7.9378696393322228E-3</c:v>
                </c:pt>
                <c:pt idx="2015">
                  <c:v>8.0995877255264567E-3</c:v>
                </c:pt>
                <c:pt idx="2016">
                  <c:v>8.2113290595221457E-3</c:v>
                </c:pt>
                <c:pt idx="2017">
                  <c:v>8.0061064784110805E-3</c:v>
                </c:pt>
                <c:pt idx="2018">
                  <c:v>7.8590106443032545E-3</c:v>
                </c:pt>
                <c:pt idx="2019">
                  <c:v>7.772080421727676E-3</c:v>
                </c:pt>
                <c:pt idx="2020">
                  <c:v>7.5358482238911872E-3</c:v>
                </c:pt>
                <c:pt idx="2021">
                  <c:v>7.3564224749461636E-3</c:v>
                </c:pt>
                <c:pt idx="2022">
                  <c:v>7.3646942905617029E-3</c:v>
                </c:pt>
                <c:pt idx="2023">
                  <c:v>7.1888812761132072E-3</c:v>
                </c:pt>
                <c:pt idx="2024">
                  <c:v>6.8555895450719837E-3</c:v>
                </c:pt>
                <c:pt idx="2025">
                  <c:v>6.9769182463398551E-3</c:v>
                </c:pt>
                <c:pt idx="2026">
                  <c:v>7.1139107449821656E-3</c:v>
                </c:pt>
                <c:pt idx="2027">
                  <c:v>6.9583850647499139E-3</c:v>
                </c:pt>
                <c:pt idx="2028">
                  <c:v>6.9222208728480783E-3</c:v>
                </c:pt>
                <c:pt idx="2029">
                  <c:v>6.967020343436727E-3</c:v>
                </c:pt>
                <c:pt idx="2030">
                  <c:v>6.7678892118926753E-3</c:v>
                </c:pt>
                <c:pt idx="2031">
                  <c:v>6.7441823715815828E-3</c:v>
                </c:pt>
                <c:pt idx="2032">
                  <c:v>6.7500226891776842E-3</c:v>
                </c:pt>
                <c:pt idx="2033">
                  <c:v>6.6274738973067958E-3</c:v>
                </c:pt>
                <c:pt idx="2034">
                  <c:v>6.4882494229246048E-3</c:v>
                </c:pt>
                <c:pt idx="2035">
                  <c:v>6.3824979228211554E-3</c:v>
                </c:pt>
                <c:pt idx="2036">
                  <c:v>6.28130679102219E-3</c:v>
                </c:pt>
                <c:pt idx="2037">
                  <c:v>6.279258042669573E-3</c:v>
                </c:pt>
                <c:pt idx="2038">
                  <c:v>6.3234054841159251E-3</c:v>
                </c:pt>
                <c:pt idx="2039">
                  <c:v>6.3193547335722872E-3</c:v>
                </c:pt>
                <c:pt idx="2040">
                  <c:v>6.1961373779609455E-3</c:v>
                </c:pt>
                <c:pt idx="2041">
                  <c:v>6.2704273933832247E-3</c:v>
                </c:pt>
                <c:pt idx="2042">
                  <c:v>6.3847515272911675E-3</c:v>
                </c:pt>
                <c:pt idx="2043">
                  <c:v>6.3621243446782471E-3</c:v>
                </c:pt>
                <c:pt idx="2044">
                  <c:v>6.5419221031218101E-3</c:v>
                </c:pt>
                <c:pt idx="2045">
                  <c:v>6.4225917460987011E-3</c:v>
                </c:pt>
                <c:pt idx="2046">
                  <c:v>6.0306151593553028E-3</c:v>
                </c:pt>
                <c:pt idx="2047">
                  <c:v>6.0959462854444403E-3</c:v>
                </c:pt>
                <c:pt idx="2048">
                  <c:v>6.1825164766200532E-3</c:v>
                </c:pt>
                <c:pt idx="2049">
                  <c:v>6.2058000655381921E-3</c:v>
                </c:pt>
                <c:pt idx="2050">
                  <c:v>6.2444640932435352E-3</c:v>
                </c:pt>
                <c:pt idx="2051">
                  <c:v>6.191933531582287E-3</c:v>
                </c:pt>
                <c:pt idx="2052">
                  <c:v>6.2990547124973581E-3</c:v>
                </c:pt>
                <c:pt idx="2053">
                  <c:v>6.3489001617650651E-3</c:v>
                </c:pt>
                <c:pt idx="2054">
                  <c:v>6.4856363006111023E-3</c:v>
                </c:pt>
                <c:pt idx="2055">
                  <c:v>6.5127578899932034E-3</c:v>
                </c:pt>
                <c:pt idx="2056">
                  <c:v>6.3605226386639971E-3</c:v>
                </c:pt>
                <c:pt idx="2057">
                  <c:v>6.430801266515393E-3</c:v>
                </c:pt>
                <c:pt idx="2058">
                  <c:v>6.4335560244911305E-3</c:v>
                </c:pt>
                <c:pt idx="2059">
                  <c:v>6.4162551989119868E-3</c:v>
                </c:pt>
                <c:pt idx="2060">
                  <c:v>6.3408197651980578E-3</c:v>
                </c:pt>
                <c:pt idx="2061">
                  <c:v>6.3703028340051614E-3</c:v>
                </c:pt>
                <c:pt idx="2062">
                  <c:v>6.4051436872085829E-3</c:v>
                </c:pt>
                <c:pt idx="2063">
                  <c:v>6.2497869176471477E-3</c:v>
                </c:pt>
                <c:pt idx="2064">
                  <c:v>6.1632139782783054E-3</c:v>
                </c:pt>
                <c:pt idx="2065">
                  <c:v>6.2986398092854112E-3</c:v>
                </c:pt>
                <c:pt idx="2066">
                  <c:v>6.3168264714693542E-3</c:v>
                </c:pt>
                <c:pt idx="2067">
                  <c:v>6.4361730834483115E-3</c:v>
                </c:pt>
                <c:pt idx="2068">
                  <c:v>7.2059634879607691E-3</c:v>
                </c:pt>
                <c:pt idx="2069">
                  <c:v>7.467588277554311E-3</c:v>
                </c:pt>
                <c:pt idx="2070">
                  <c:v>7.8887964342087263E-3</c:v>
                </c:pt>
                <c:pt idx="2071">
                  <c:v>8.0424187123600815E-3</c:v>
                </c:pt>
                <c:pt idx="2072">
                  <c:v>7.9160225279683045E-3</c:v>
                </c:pt>
                <c:pt idx="2073">
                  <c:v>8.0617482996748341E-3</c:v>
                </c:pt>
                <c:pt idx="2074">
                  <c:v>7.9154699204043583E-3</c:v>
                </c:pt>
                <c:pt idx="2075">
                  <c:v>7.9054106282185465E-3</c:v>
                </c:pt>
                <c:pt idx="2076">
                  <c:v>7.9391932891128749E-3</c:v>
                </c:pt>
                <c:pt idx="2077">
                  <c:v>8.1504853579946693E-3</c:v>
                </c:pt>
                <c:pt idx="2078">
                  <c:v>8.1804092161935436E-3</c:v>
                </c:pt>
                <c:pt idx="2079">
                  <c:v>7.9710862121766795E-3</c:v>
                </c:pt>
                <c:pt idx="2080">
                  <c:v>8.1483275059962747E-3</c:v>
                </c:pt>
                <c:pt idx="2081">
                  <c:v>8.1992487209732387E-3</c:v>
                </c:pt>
                <c:pt idx="2082">
                  <c:v>7.9901205874637459E-3</c:v>
                </c:pt>
                <c:pt idx="2083">
                  <c:v>7.898011972209738E-3</c:v>
                </c:pt>
                <c:pt idx="2084">
                  <c:v>7.8829481895652947E-3</c:v>
                </c:pt>
                <c:pt idx="2085">
                  <c:v>7.9418852935186478E-3</c:v>
                </c:pt>
                <c:pt idx="2086">
                  <c:v>7.9838400226339198E-3</c:v>
                </c:pt>
                <c:pt idx="2087">
                  <c:v>7.9695197742298187E-3</c:v>
                </c:pt>
                <c:pt idx="2088">
                  <c:v>8.0178409218058383E-3</c:v>
                </c:pt>
                <c:pt idx="2089">
                  <c:v>7.9345007053273284E-3</c:v>
                </c:pt>
                <c:pt idx="2090">
                  <c:v>8.0418982818212057E-3</c:v>
                </c:pt>
                <c:pt idx="2091">
                  <c:v>8.0146661754043457E-3</c:v>
                </c:pt>
                <c:pt idx="2092">
                  <c:v>7.9549134649791568E-3</c:v>
                </c:pt>
                <c:pt idx="2093">
                  <c:v>7.9023026140674184E-3</c:v>
                </c:pt>
                <c:pt idx="2094">
                  <c:v>8.1129383217828314E-3</c:v>
                </c:pt>
                <c:pt idx="2095">
                  <c:v>8.1246478331195339E-3</c:v>
                </c:pt>
                <c:pt idx="2096">
                  <c:v>8.3755805081783489E-3</c:v>
                </c:pt>
                <c:pt idx="2097">
                  <c:v>8.4892204612715769E-3</c:v>
                </c:pt>
                <c:pt idx="2098">
                  <c:v>8.3457480247305892E-3</c:v>
                </c:pt>
                <c:pt idx="2099">
                  <c:v>8.6295213014432777E-3</c:v>
                </c:pt>
                <c:pt idx="2100">
                  <c:v>8.896159839651873E-3</c:v>
                </c:pt>
                <c:pt idx="2101">
                  <c:v>9.0252452984588977E-3</c:v>
                </c:pt>
                <c:pt idx="2102">
                  <c:v>9.1177921586605599E-3</c:v>
                </c:pt>
                <c:pt idx="2103">
                  <c:v>9.2480942017408342E-3</c:v>
                </c:pt>
                <c:pt idx="2104">
                  <c:v>9.5803148780933996E-3</c:v>
                </c:pt>
                <c:pt idx="2105">
                  <c:v>1.0172421845115302E-2</c:v>
                </c:pt>
                <c:pt idx="2106">
                  <c:v>1.0489055438385598E-2</c:v>
                </c:pt>
                <c:pt idx="2107">
                  <c:v>1.0297775023589058E-2</c:v>
                </c:pt>
                <c:pt idx="2108">
                  <c:v>1.0358285689609751E-2</c:v>
                </c:pt>
                <c:pt idx="2109">
                  <c:v>1.0465904182209988E-2</c:v>
                </c:pt>
                <c:pt idx="2110">
                  <c:v>1.0077670537012584E-2</c:v>
                </c:pt>
                <c:pt idx="2111">
                  <c:v>9.6784960449648808E-3</c:v>
                </c:pt>
                <c:pt idx="2112">
                  <c:v>9.7459965436754621E-3</c:v>
                </c:pt>
                <c:pt idx="2113">
                  <c:v>9.9160335896351908E-3</c:v>
                </c:pt>
                <c:pt idx="2114">
                  <c:v>9.9248009010944223E-3</c:v>
                </c:pt>
                <c:pt idx="2115">
                  <c:v>9.8886649899559333E-3</c:v>
                </c:pt>
                <c:pt idx="2116">
                  <c:v>9.892637860615363E-3</c:v>
                </c:pt>
                <c:pt idx="2117">
                  <c:v>9.7334668185534139E-3</c:v>
                </c:pt>
                <c:pt idx="2118">
                  <c:v>9.6244025323802031E-3</c:v>
                </c:pt>
                <c:pt idx="2119">
                  <c:v>9.5496821528924039E-3</c:v>
                </c:pt>
                <c:pt idx="2120">
                  <c:v>9.3163128904225883E-3</c:v>
                </c:pt>
                <c:pt idx="2121">
                  <c:v>9.127438765712188E-3</c:v>
                </c:pt>
                <c:pt idx="2122">
                  <c:v>8.9442579275670585E-3</c:v>
                </c:pt>
                <c:pt idx="2123">
                  <c:v>8.7418928076385804E-3</c:v>
                </c:pt>
                <c:pt idx="2124">
                  <c:v>8.4483902444761859E-3</c:v>
                </c:pt>
                <c:pt idx="2125">
                  <c:v>8.3617689133861396E-3</c:v>
                </c:pt>
                <c:pt idx="2126">
                  <c:v>8.2548462627328907E-3</c:v>
                </c:pt>
                <c:pt idx="2127">
                  <c:v>7.929989076835205E-3</c:v>
                </c:pt>
                <c:pt idx="2128">
                  <c:v>7.8410556157610719E-3</c:v>
                </c:pt>
                <c:pt idx="2129">
                  <c:v>7.7774862915024577E-3</c:v>
                </c:pt>
                <c:pt idx="2130">
                  <c:v>7.5357732159721091E-3</c:v>
                </c:pt>
                <c:pt idx="2131">
                  <c:v>7.4231789297659568E-3</c:v>
                </c:pt>
                <c:pt idx="2132">
                  <c:v>7.7326069143893398E-3</c:v>
                </c:pt>
                <c:pt idx="2133">
                  <c:v>8.005481648542364E-3</c:v>
                </c:pt>
                <c:pt idx="2134">
                  <c:v>7.7688321567084924E-3</c:v>
                </c:pt>
                <c:pt idx="2135">
                  <c:v>7.5211002313606383E-3</c:v>
                </c:pt>
                <c:pt idx="2136">
                  <c:v>7.5089790311216103E-3</c:v>
                </c:pt>
                <c:pt idx="2137">
                  <c:v>7.6751018552801472E-3</c:v>
                </c:pt>
                <c:pt idx="2138">
                  <c:v>7.4823842356630827E-3</c:v>
                </c:pt>
                <c:pt idx="2139">
                  <c:v>7.2808113625109352E-3</c:v>
                </c:pt>
                <c:pt idx="2140">
                  <c:v>7.462159157732828E-3</c:v>
                </c:pt>
                <c:pt idx="2141">
                  <c:v>7.4642559573219157E-3</c:v>
                </c:pt>
                <c:pt idx="2142">
                  <c:v>7.5839513205231595E-3</c:v>
                </c:pt>
                <c:pt idx="2143">
                  <c:v>7.4157132768069099E-3</c:v>
                </c:pt>
                <c:pt idx="2144">
                  <c:v>7.3773746915355874E-3</c:v>
                </c:pt>
                <c:pt idx="2145">
                  <c:v>7.2060434223523854E-3</c:v>
                </c:pt>
                <c:pt idx="2146">
                  <c:v>7.1070928714892893E-3</c:v>
                </c:pt>
                <c:pt idx="2147">
                  <c:v>7.0792964631736016E-3</c:v>
                </c:pt>
                <c:pt idx="2148">
                  <c:v>7.1127215397334088E-3</c:v>
                </c:pt>
                <c:pt idx="2149">
                  <c:v>7.1274564405114302E-3</c:v>
                </c:pt>
                <c:pt idx="2150">
                  <c:v>7.1649250755673136E-3</c:v>
                </c:pt>
                <c:pt idx="2151">
                  <c:v>7.3094587506365846E-3</c:v>
                </c:pt>
                <c:pt idx="2152">
                  <c:v>7.4813786795029551E-3</c:v>
                </c:pt>
                <c:pt idx="2153">
                  <c:v>7.4531132157205906E-3</c:v>
                </c:pt>
                <c:pt idx="2154">
                  <c:v>7.7840706942630565E-3</c:v>
                </c:pt>
                <c:pt idx="2155">
                  <c:v>7.805989207536764E-3</c:v>
                </c:pt>
                <c:pt idx="2156">
                  <c:v>7.6314500374119595E-3</c:v>
                </c:pt>
                <c:pt idx="2157">
                  <c:v>7.8900445755040217E-3</c:v>
                </c:pt>
                <c:pt idx="2158">
                  <c:v>8.0487854035527061E-3</c:v>
                </c:pt>
                <c:pt idx="2159">
                  <c:v>7.9371886600735509E-3</c:v>
                </c:pt>
                <c:pt idx="2160">
                  <c:v>8.0960672769736612E-3</c:v>
                </c:pt>
                <c:pt idx="2161">
                  <c:v>8.2390156757593744E-3</c:v>
                </c:pt>
                <c:pt idx="2162">
                  <c:v>8.0975679077788815E-3</c:v>
                </c:pt>
                <c:pt idx="2163">
                  <c:v>7.9676684756095992E-3</c:v>
                </c:pt>
                <c:pt idx="2164">
                  <c:v>8.0850071925435436E-3</c:v>
                </c:pt>
                <c:pt idx="2165">
                  <c:v>7.8553470128955461E-3</c:v>
                </c:pt>
                <c:pt idx="2166">
                  <c:v>7.7156220117531897E-3</c:v>
                </c:pt>
                <c:pt idx="2167">
                  <c:v>7.6658364088006631E-3</c:v>
                </c:pt>
                <c:pt idx="2168">
                  <c:v>7.6667492089955644E-3</c:v>
                </c:pt>
                <c:pt idx="2169">
                  <c:v>7.538456462504897E-3</c:v>
                </c:pt>
                <c:pt idx="2170">
                  <c:v>7.4335939319556668E-3</c:v>
                </c:pt>
                <c:pt idx="2171">
                  <c:v>7.465500392747672E-3</c:v>
                </c:pt>
                <c:pt idx="2172">
                  <c:v>7.2636845828227764E-3</c:v>
                </c:pt>
                <c:pt idx="2173">
                  <c:v>7.4158553615200811E-3</c:v>
                </c:pt>
                <c:pt idx="2174">
                  <c:v>7.4003959200314691E-3</c:v>
                </c:pt>
                <c:pt idx="2175">
                  <c:v>7.3789159086845493E-3</c:v>
                </c:pt>
                <c:pt idx="2176">
                  <c:v>7.358107171637652E-3</c:v>
                </c:pt>
                <c:pt idx="2177">
                  <c:v>7.347968323095695E-3</c:v>
                </c:pt>
                <c:pt idx="2178">
                  <c:v>7.4358565306541632E-3</c:v>
                </c:pt>
                <c:pt idx="2179">
                  <c:v>7.4191174778940492E-3</c:v>
                </c:pt>
                <c:pt idx="2180">
                  <c:v>7.5579092765588763E-3</c:v>
                </c:pt>
                <c:pt idx="2181">
                  <c:v>7.4955356289922084E-3</c:v>
                </c:pt>
                <c:pt idx="2182">
                  <c:v>7.4319443432972901E-3</c:v>
                </c:pt>
                <c:pt idx="2183">
                  <c:v>7.7699366518552537E-3</c:v>
                </c:pt>
                <c:pt idx="2184">
                  <c:v>7.4545564841032161E-3</c:v>
                </c:pt>
                <c:pt idx="2185">
                  <c:v>7.6711516902986422E-3</c:v>
                </c:pt>
                <c:pt idx="2186">
                  <c:v>8.3316627563900063E-3</c:v>
                </c:pt>
                <c:pt idx="2187">
                  <c:v>8.263588436239833E-3</c:v>
                </c:pt>
                <c:pt idx="2188">
                  <c:v>8.1525185626820547E-3</c:v>
                </c:pt>
                <c:pt idx="2189">
                  <c:v>8.3577921496770808E-3</c:v>
                </c:pt>
                <c:pt idx="2190">
                  <c:v>8.4224306915920109E-3</c:v>
                </c:pt>
                <c:pt idx="2191">
                  <c:v>8.2377683790802337E-3</c:v>
                </c:pt>
                <c:pt idx="2192">
                  <c:v>8.1112813677224529E-3</c:v>
                </c:pt>
                <c:pt idx="2193">
                  <c:v>8.0396527972174149E-3</c:v>
                </c:pt>
                <c:pt idx="2194">
                  <c:v>7.9038080807481304E-3</c:v>
                </c:pt>
                <c:pt idx="2195">
                  <c:v>7.953828999389935E-3</c:v>
                </c:pt>
                <c:pt idx="2196">
                  <c:v>7.917508502334341E-3</c:v>
                </c:pt>
                <c:pt idx="2197">
                  <c:v>7.9400380913391914E-3</c:v>
                </c:pt>
                <c:pt idx="2198">
                  <c:v>8.0905510403349017E-3</c:v>
                </c:pt>
                <c:pt idx="2199">
                  <c:v>8.1012842912736912E-3</c:v>
                </c:pt>
                <c:pt idx="2200">
                  <c:v>8.0722074550241725E-3</c:v>
                </c:pt>
                <c:pt idx="2201">
                  <c:v>8.175254154954582E-3</c:v>
                </c:pt>
                <c:pt idx="2202">
                  <c:v>8.171538655488822E-3</c:v>
                </c:pt>
                <c:pt idx="2203">
                  <c:v>8.0752986493698251E-3</c:v>
                </c:pt>
                <c:pt idx="2204">
                  <c:v>8.2129164778531119E-3</c:v>
                </c:pt>
                <c:pt idx="2205">
                  <c:v>8.2322990397037318E-3</c:v>
                </c:pt>
                <c:pt idx="2206">
                  <c:v>8.4366196833205453E-3</c:v>
                </c:pt>
                <c:pt idx="2207">
                  <c:v>8.7171706537710787E-3</c:v>
                </c:pt>
                <c:pt idx="2208">
                  <c:v>8.6292767510374718E-3</c:v>
                </c:pt>
                <c:pt idx="2209">
                  <c:v>8.8589033900390666E-3</c:v>
                </c:pt>
                <c:pt idx="2210">
                  <c:v>9.0985722198373281E-3</c:v>
                </c:pt>
                <c:pt idx="2211">
                  <c:v>9.0608616949686589E-3</c:v>
                </c:pt>
                <c:pt idx="2212">
                  <c:v>8.9739369574088606E-3</c:v>
                </c:pt>
                <c:pt idx="2213">
                  <c:v>8.7717940915029088E-3</c:v>
                </c:pt>
                <c:pt idx="2214">
                  <c:v>8.7083483543244373E-3</c:v>
                </c:pt>
                <c:pt idx="2215">
                  <c:v>8.2055213525717187E-3</c:v>
                </c:pt>
                <c:pt idx="2216">
                  <c:v>7.9740578471771528E-3</c:v>
                </c:pt>
                <c:pt idx="2217">
                  <c:v>8.0453413801583416E-3</c:v>
                </c:pt>
                <c:pt idx="2218">
                  <c:v>8.3019242206292271E-3</c:v>
                </c:pt>
                <c:pt idx="2219">
                  <c:v>7.9552437441592141E-3</c:v>
                </c:pt>
                <c:pt idx="2220">
                  <c:v>7.1349622562764002E-3</c:v>
                </c:pt>
                <c:pt idx="2221">
                  <c:v>6.8396765875452618E-3</c:v>
                </c:pt>
                <c:pt idx="2222">
                  <c:v>6.8577521818404845E-3</c:v>
                </c:pt>
                <c:pt idx="2223">
                  <c:v>6.7424029663411137E-3</c:v>
                </c:pt>
                <c:pt idx="2224">
                  <c:v>7.6732370158305524E-3</c:v>
                </c:pt>
                <c:pt idx="2225">
                  <c:v>8.205950970679516E-3</c:v>
                </c:pt>
                <c:pt idx="2226">
                  <c:v>9.9054749044173666E-3</c:v>
                </c:pt>
                <c:pt idx="2227">
                  <c:v>1.6597712218214367E-2</c:v>
                </c:pt>
                <c:pt idx="2228">
                  <c:v>4.8123776641915077E-2</c:v>
                </c:pt>
                <c:pt idx="2229">
                  <c:v>9.0876543055460821E-2</c:v>
                </c:pt>
                <c:pt idx="2230">
                  <c:v>0.11414328080034651</c:v>
                </c:pt>
                <c:pt idx="2231">
                  <c:v>0.13084341411902459</c:v>
                </c:pt>
                <c:pt idx="2232">
                  <c:v>0.14441299766852836</c:v>
                </c:pt>
                <c:pt idx="2233">
                  <c:v>0.15490095927465863</c:v>
                </c:pt>
                <c:pt idx="2234">
                  <c:v>0.16188199048940863</c:v>
                </c:pt>
                <c:pt idx="2235">
                  <c:v>0.16826084330349131</c:v>
                </c:pt>
                <c:pt idx="2236">
                  <c:v>0.17308163208513921</c:v>
                </c:pt>
                <c:pt idx="2237">
                  <c:v>0.17700006787511025</c:v>
                </c:pt>
                <c:pt idx="2238">
                  <c:v>0.1800543986120253</c:v>
                </c:pt>
                <c:pt idx="2239">
                  <c:v>0.18253984961090522</c:v>
                </c:pt>
                <c:pt idx="2240">
                  <c:v>0.18334806735149389</c:v>
                </c:pt>
                <c:pt idx="2241">
                  <c:v>0.18372091657852874</c:v>
                </c:pt>
                <c:pt idx="2242">
                  <c:v>0.18266975188369947</c:v>
                </c:pt>
                <c:pt idx="2243">
                  <c:v>0.18122775654625792</c:v>
                </c:pt>
                <c:pt idx="2244">
                  <c:v>0.17852695511333</c:v>
                </c:pt>
                <c:pt idx="2245">
                  <c:v>0.17493224318509304</c:v>
                </c:pt>
                <c:pt idx="2246">
                  <c:v>0.17081846846601123</c:v>
                </c:pt>
                <c:pt idx="2247">
                  <c:v>0.16515989429767902</c:v>
                </c:pt>
                <c:pt idx="2248">
                  <c:v>0.15888626793540911</c:v>
                </c:pt>
                <c:pt idx="2249">
                  <c:v>0.15107680048348263</c:v>
                </c:pt>
                <c:pt idx="2250">
                  <c:v>0.1417875382970237</c:v>
                </c:pt>
                <c:pt idx="2251">
                  <c:v>0.1320226829528004</c:v>
                </c:pt>
                <c:pt idx="2252">
                  <c:v>0.11968567143613659</c:v>
                </c:pt>
                <c:pt idx="2253">
                  <c:v>0.10549324253104277</c:v>
                </c:pt>
                <c:pt idx="2254">
                  <c:v>8.9793572700686206E-2</c:v>
                </c:pt>
                <c:pt idx="2255">
                  <c:v>6.9330463119218338E-2</c:v>
                </c:pt>
                <c:pt idx="2256">
                  <c:v>4.3325566655978844E-2</c:v>
                </c:pt>
                <c:pt idx="2257">
                  <c:v>6.1174798289437698E-3</c:v>
                </c:pt>
                <c:pt idx="2258">
                  <c:v>-1.7456834597912047E-2</c:v>
                </c:pt>
                <c:pt idx="2259">
                  <c:v>-1.8357537869365632E-2</c:v>
                </c:pt>
                <c:pt idx="2260">
                  <c:v>-1.9417063300449389E-2</c:v>
                </c:pt>
                <c:pt idx="2261">
                  <c:v>-1.847974042300414E-2</c:v>
                </c:pt>
                <c:pt idx="2262">
                  <c:v>-1.7596092181875685E-2</c:v>
                </c:pt>
                <c:pt idx="2263">
                  <c:v>-1.5079505395190474E-2</c:v>
                </c:pt>
                <c:pt idx="2264">
                  <c:v>-1.2976679006628692E-2</c:v>
                </c:pt>
                <c:pt idx="2265">
                  <c:v>-1.0589463394631553E-2</c:v>
                </c:pt>
                <c:pt idx="2266">
                  <c:v>-8.0797462975336406E-3</c:v>
                </c:pt>
                <c:pt idx="2267">
                  <c:v>-5.8218918583183383E-3</c:v>
                </c:pt>
                <c:pt idx="2268">
                  <c:v>-4.2614437754833166E-3</c:v>
                </c:pt>
                <c:pt idx="2269">
                  <c:v>-3.1902248559830342E-3</c:v>
                </c:pt>
                <c:pt idx="2270">
                  <c:v>-2.4323417456884773E-3</c:v>
                </c:pt>
                <c:pt idx="2271">
                  <c:v>-1.8378167928916837E-3</c:v>
                </c:pt>
                <c:pt idx="2272">
                  <c:v>-1.1005628303686699E-3</c:v>
                </c:pt>
                <c:pt idx="2273">
                  <c:v>-3.9585265390384636E-4</c:v>
                </c:pt>
                <c:pt idx="2274">
                  <c:v>2.6250895119970738E-4</c:v>
                </c:pt>
                <c:pt idx="2275">
                  <c:v>7.6573642015125704E-4</c:v>
                </c:pt>
                <c:pt idx="2276">
                  <c:v>1.2578524200814421E-3</c:v>
                </c:pt>
                <c:pt idx="2277">
                  <c:v>1.6271888917175001E-3</c:v>
                </c:pt>
                <c:pt idx="2278">
                  <c:v>2.2676903445062258E-3</c:v>
                </c:pt>
                <c:pt idx="2279">
                  <c:v>2.6911669925676618E-3</c:v>
                </c:pt>
                <c:pt idx="2280">
                  <c:v>3.0778791878511205E-3</c:v>
                </c:pt>
                <c:pt idx="2281">
                  <c:v>3.3047251053421713E-3</c:v>
                </c:pt>
                <c:pt idx="2282">
                  <c:v>3.4541470558801576E-3</c:v>
                </c:pt>
                <c:pt idx="2283">
                  <c:v>3.7541382938270883E-3</c:v>
                </c:pt>
                <c:pt idx="2284">
                  <c:v>5.4900551477952949E-3</c:v>
                </c:pt>
                <c:pt idx="2285">
                  <c:v>8.1204375898574939E-3</c:v>
                </c:pt>
                <c:pt idx="2286">
                  <c:v>1.0584348078377132E-2</c:v>
                </c:pt>
                <c:pt idx="2287">
                  <c:v>2.5979387403070094E-2</c:v>
                </c:pt>
                <c:pt idx="2288">
                  <c:v>4.2010880180322681E-2</c:v>
                </c:pt>
                <c:pt idx="2289">
                  <c:v>5.2143890060336359E-2</c:v>
                </c:pt>
                <c:pt idx="2290">
                  <c:v>5.8290301415993895E-2</c:v>
                </c:pt>
                <c:pt idx="2291">
                  <c:v>6.3066272641365578E-2</c:v>
                </c:pt>
                <c:pt idx="2292">
                  <c:v>6.6510423172181726E-2</c:v>
                </c:pt>
                <c:pt idx="2293">
                  <c:v>7.1700595620935392E-2</c:v>
                </c:pt>
                <c:pt idx="2294">
                  <c:v>7.4334828217877166E-2</c:v>
                </c:pt>
                <c:pt idx="2295">
                  <c:v>7.6912342336856954E-2</c:v>
                </c:pt>
                <c:pt idx="2296">
                  <c:v>7.9260420850580257E-2</c:v>
                </c:pt>
                <c:pt idx="2297">
                  <c:v>8.0354513566910757E-2</c:v>
                </c:pt>
                <c:pt idx="2298">
                  <c:v>8.066588215379486E-2</c:v>
                </c:pt>
                <c:pt idx="2299">
                  <c:v>8.1044419031758144E-2</c:v>
                </c:pt>
                <c:pt idx="2300">
                  <c:v>8.0404348558455352E-2</c:v>
                </c:pt>
                <c:pt idx="2301">
                  <c:v>8.091594372644885E-2</c:v>
                </c:pt>
                <c:pt idx="2302">
                  <c:v>7.9620265442760796E-2</c:v>
                </c:pt>
                <c:pt idx="2303">
                  <c:v>7.8451134691024715E-2</c:v>
                </c:pt>
                <c:pt idx="2304">
                  <c:v>7.694558583421833E-2</c:v>
                </c:pt>
                <c:pt idx="2305">
                  <c:v>7.5401839436039411E-2</c:v>
                </c:pt>
                <c:pt idx="2306">
                  <c:v>7.5940259105622507E-2</c:v>
                </c:pt>
                <c:pt idx="2307">
                  <c:v>8.1504191124132402E-2</c:v>
                </c:pt>
                <c:pt idx="2308">
                  <c:v>8.5937189172620526E-2</c:v>
                </c:pt>
                <c:pt idx="2309">
                  <c:v>8.8988001922103918E-2</c:v>
                </c:pt>
                <c:pt idx="2310">
                  <c:v>8.9494961793753061E-2</c:v>
                </c:pt>
                <c:pt idx="2311">
                  <c:v>8.9180609008967779E-2</c:v>
                </c:pt>
                <c:pt idx="2312">
                  <c:v>8.9598512954921675E-2</c:v>
                </c:pt>
                <c:pt idx="2313">
                  <c:v>8.9550073003647257E-2</c:v>
                </c:pt>
                <c:pt idx="2314">
                  <c:v>8.9613959658764467E-2</c:v>
                </c:pt>
                <c:pt idx="2315">
                  <c:v>8.9933015604404865E-2</c:v>
                </c:pt>
                <c:pt idx="2316">
                  <c:v>9.0453577435338092E-2</c:v>
                </c:pt>
                <c:pt idx="2317">
                  <c:v>9.143767426890187E-2</c:v>
                </c:pt>
                <c:pt idx="2318">
                  <c:v>9.028886393993478E-2</c:v>
                </c:pt>
                <c:pt idx="2319">
                  <c:v>8.8916790315043043E-2</c:v>
                </c:pt>
                <c:pt idx="2320">
                  <c:v>8.7879026654600081E-2</c:v>
                </c:pt>
                <c:pt idx="2321">
                  <c:v>8.6556619257395634E-2</c:v>
                </c:pt>
                <c:pt idx="2322">
                  <c:v>8.526791593101482E-2</c:v>
                </c:pt>
                <c:pt idx="2323">
                  <c:v>8.176052641359767E-2</c:v>
                </c:pt>
                <c:pt idx="2324">
                  <c:v>7.9382960849249784E-2</c:v>
                </c:pt>
                <c:pt idx="2325">
                  <c:v>7.5683278734078777E-2</c:v>
                </c:pt>
                <c:pt idx="2326">
                  <c:v>7.0493903192990093E-2</c:v>
                </c:pt>
                <c:pt idx="2327">
                  <c:v>6.6938158594776698E-2</c:v>
                </c:pt>
                <c:pt idx="2328">
                  <c:v>6.1993950789150841E-2</c:v>
                </c:pt>
                <c:pt idx="2329">
                  <c:v>5.7257239103382748E-2</c:v>
                </c:pt>
                <c:pt idx="2330">
                  <c:v>5.1435753131700082E-2</c:v>
                </c:pt>
                <c:pt idx="2331">
                  <c:v>4.5621769325563347E-2</c:v>
                </c:pt>
                <c:pt idx="2332">
                  <c:v>3.9066480974892952E-2</c:v>
                </c:pt>
                <c:pt idx="2333">
                  <c:v>3.161749428311128E-2</c:v>
                </c:pt>
                <c:pt idx="2334">
                  <c:v>2.2685079048256201E-2</c:v>
                </c:pt>
                <c:pt idx="2335">
                  <c:v>6.7991049613039794E-3</c:v>
                </c:pt>
                <c:pt idx="2336">
                  <c:v>-6.7485419398919857E-3</c:v>
                </c:pt>
                <c:pt idx="2337">
                  <c:v>-6.5644207421216849E-3</c:v>
                </c:pt>
                <c:pt idx="2338">
                  <c:v>-6.3038833021232454E-3</c:v>
                </c:pt>
                <c:pt idx="2339">
                  <c:v>-6.3570783476357643E-3</c:v>
                </c:pt>
                <c:pt idx="2340">
                  <c:v>-6.8503556306111447E-3</c:v>
                </c:pt>
                <c:pt idx="2341">
                  <c:v>-7.354738078801922E-3</c:v>
                </c:pt>
                <c:pt idx="2342">
                  <c:v>-8.0688056926494587E-3</c:v>
                </c:pt>
                <c:pt idx="2343">
                  <c:v>-8.4497363122494444E-3</c:v>
                </c:pt>
                <c:pt idx="2344">
                  <c:v>-8.6894573910571791E-3</c:v>
                </c:pt>
                <c:pt idx="2345">
                  <c:v>-7.9657520270457732E-3</c:v>
                </c:pt>
                <c:pt idx="2346">
                  <c:v>-7.0369050021096089E-3</c:v>
                </c:pt>
                <c:pt idx="2347">
                  <c:v>-5.8923248176053636E-3</c:v>
                </c:pt>
                <c:pt idx="2348">
                  <c:v>-4.6422804571463533E-3</c:v>
                </c:pt>
                <c:pt idx="2349">
                  <c:v>-3.824435061670196E-3</c:v>
                </c:pt>
                <c:pt idx="2350">
                  <c:v>-3.2220058798139795E-3</c:v>
                </c:pt>
                <c:pt idx="2351">
                  <c:v>-3.0260103405485065E-3</c:v>
                </c:pt>
                <c:pt idx="2352">
                  <c:v>-3.064092710457848E-3</c:v>
                </c:pt>
                <c:pt idx="2353">
                  <c:v>-3.0852294569927731E-3</c:v>
                </c:pt>
                <c:pt idx="2354">
                  <c:v>-3.3227918926406774E-3</c:v>
                </c:pt>
                <c:pt idx="2355">
                  <c:v>-3.6627716518397128E-3</c:v>
                </c:pt>
                <c:pt idx="2356">
                  <c:v>-3.8652898696444442E-3</c:v>
                </c:pt>
                <c:pt idx="2357">
                  <c:v>-3.8636540682722557E-3</c:v>
                </c:pt>
                <c:pt idx="2358">
                  <c:v>-3.7350672707768557E-3</c:v>
                </c:pt>
                <c:pt idx="2359">
                  <c:v>-3.5077349341010216E-3</c:v>
                </c:pt>
                <c:pt idx="2360">
                  <c:v>-3.2163869702059138E-3</c:v>
                </c:pt>
                <c:pt idx="2361">
                  <c:v>-3.4068823529655257E-3</c:v>
                </c:pt>
                <c:pt idx="2362">
                  <c:v>-3.9983398366948697E-3</c:v>
                </c:pt>
                <c:pt idx="2363">
                  <c:v>-4.9330008439459564E-3</c:v>
                </c:pt>
                <c:pt idx="2364">
                  <c:v>-5.6564374149302536E-3</c:v>
                </c:pt>
                <c:pt idx="2365">
                  <c:v>-6.2272916961963794E-3</c:v>
                </c:pt>
                <c:pt idx="2366">
                  <c:v>-6.7623664864653711E-3</c:v>
                </c:pt>
                <c:pt idx="2367">
                  <c:v>-7.1385309945071994E-3</c:v>
                </c:pt>
                <c:pt idx="2368">
                  <c:v>-7.4709499096642295E-3</c:v>
                </c:pt>
                <c:pt idx="2369">
                  <c:v>-7.7069028036331443E-3</c:v>
                </c:pt>
                <c:pt idx="2370">
                  <c:v>-7.9378168506488711E-3</c:v>
                </c:pt>
                <c:pt idx="2371">
                  <c:v>-8.2063402370094792E-3</c:v>
                </c:pt>
                <c:pt idx="2372">
                  <c:v>-8.4788145766563038E-3</c:v>
                </c:pt>
                <c:pt idx="2373">
                  <c:v>-8.5534627421563723E-3</c:v>
                </c:pt>
                <c:pt idx="2374">
                  <c:v>-8.5870999639741773E-3</c:v>
                </c:pt>
                <c:pt idx="2375">
                  <c:v>-8.5748786385649537E-3</c:v>
                </c:pt>
                <c:pt idx="2376">
                  <c:v>-8.6069465892127731E-3</c:v>
                </c:pt>
                <c:pt idx="2377">
                  <c:v>-8.5787446533187404E-3</c:v>
                </c:pt>
                <c:pt idx="2378">
                  <c:v>-8.4661307857413076E-3</c:v>
                </c:pt>
                <c:pt idx="2379">
                  <c:v>-8.1903858691501127E-3</c:v>
                </c:pt>
                <c:pt idx="2380">
                  <c:v>-7.8225073711079268E-3</c:v>
                </c:pt>
                <c:pt idx="2381">
                  <c:v>-7.3767494902734765E-3</c:v>
                </c:pt>
                <c:pt idx="2382">
                  <c:v>-7.1294123314270489E-3</c:v>
                </c:pt>
                <c:pt idx="2383">
                  <c:v>-6.8912138229498257E-3</c:v>
                </c:pt>
                <c:pt idx="2384">
                  <c:v>-6.2847578899140524E-3</c:v>
                </c:pt>
                <c:pt idx="2385">
                  <c:v>-5.431593048252966E-3</c:v>
                </c:pt>
                <c:pt idx="2386">
                  <c:v>-4.5647836527144513E-3</c:v>
                </c:pt>
                <c:pt idx="2387">
                  <c:v>-3.6695758853904003E-3</c:v>
                </c:pt>
                <c:pt idx="2388">
                  <c:v>-2.4529984534900334E-3</c:v>
                </c:pt>
                <c:pt idx="2389">
                  <c:v>-1.7163469919506602E-3</c:v>
                </c:pt>
                <c:pt idx="2390">
                  <c:v>-1.082500717233269E-3</c:v>
                </c:pt>
                <c:pt idx="2391">
                  <c:v>-8.2594311226512297E-4</c:v>
                </c:pt>
                <c:pt idx="2392">
                  <c:v>-8.0925352568353339E-4</c:v>
                </c:pt>
                <c:pt idx="2393">
                  <c:v>-8.6289056703415384E-4</c:v>
                </c:pt>
                <c:pt idx="2394">
                  <c:v>-8.962105093869644E-4</c:v>
                </c:pt>
                <c:pt idx="2395">
                  <c:v>-9.1702403377103719E-4</c:v>
                </c:pt>
                <c:pt idx="2396">
                  <c:v>-9.6167601129190866E-4</c:v>
                </c:pt>
                <c:pt idx="2397">
                  <c:v>-9.9316452654191201E-4</c:v>
                </c:pt>
                <c:pt idx="2398">
                  <c:v>-9.0320805814810782E-4</c:v>
                </c:pt>
                <c:pt idx="2399">
                  <c:v>-8.146463295987936E-4</c:v>
                </c:pt>
                <c:pt idx="2400">
                  <c:v>-7.0969788157994947E-4</c:v>
                </c:pt>
                <c:pt idx="2401">
                  <c:v>-3.6658601551269455E-4</c:v>
                </c:pt>
                <c:pt idx="2402">
                  <c:v>-1.6714960844062656E-4</c:v>
                </c:pt>
                <c:pt idx="2403">
                  <c:v>1.0811864018191132E-4</c:v>
                </c:pt>
                <c:pt idx="2404">
                  <c:v>3.1086817246354839E-4</c:v>
                </c:pt>
                <c:pt idx="2405">
                  <c:v>5.1272698383504666E-4</c:v>
                </c:pt>
                <c:pt idx="2406">
                  <c:v>6.955006480506465E-4</c:v>
                </c:pt>
                <c:pt idx="2407">
                  <c:v>8.955487104237974E-4</c:v>
                </c:pt>
                <c:pt idx="2408">
                  <c:v>1.0814875155062539E-3</c:v>
                </c:pt>
                <c:pt idx="2409">
                  <c:v>1.2121320346135957E-3</c:v>
                </c:pt>
                <c:pt idx="2410">
                  <c:v>1.3560606872880829E-3</c:v>
                </c:pt>
                <c:pt idx="2411">
                  <c:v>1.5528446676719254E-3</c:v>
                </c:pt>
                <c:pt idx="2412">
                  <c:v>1.913931621205752E-3</c:v>
                </c:pt>
                <c:pt idx="2413">
                  <c:v>2.2848048121252365E-3</c:v>
                </c:pt>
                <c:pt idx="2414">
                  <c:v>2.4645068918904538E-3</c:v>
                </c:pt>
                <c:pt idx="2415">
                  <c:v>2.4572283615246324E-3</c:v>
                </c:pt>
                <c:pt idx="2416">
                  <c:v>2.3679347901667406E-3</c:v>
                </c:pt>
                <c:pt idx="2417">
                  <c:v>2.3519125390644878E-3</c:v>
                </c:pt>
                <c:pt idx="2418">
                  <c:v>2.4546436995110544E-3</c:v>
                </c:pt>
                <c:pt idx="2419">
                  <c:v>2.4473954138118483E-3</c:v>
                </c:pt>
                <c:pt idx="2420">
                  <c:v>2.3498929402035094E-3</c:v>
                </c:pt>
                <c:pt idx="2421">
                  <c:v>2.2409208471476936E-3</c:v>
                </c:pt>
                <c:pt idx="2422">
                  <c:v>1.1782109173133924E-3</c:v>
                </c:pt>
                <c:pt idx="2423">
                  <c:v>9.9532861348748669E-5</c:v>
                </c:pt>
                <c:pt idx="2424">
                  <c:v>-7.476239963310153E-4</c:v>
                </c:pt>
                <c:pt idx="2425">
                  <c:v>-1.3422502737131499E-3</c:v>
                </c:pt>
                <c:pt idx="2426">
                  <c:v>-2.0712132411519115E-3</c:v>
                </c:pt>
                <c:pt idx="2427">
                  <c:v>-2.6935913548548438E-3</c:v>
                </c:pt>
                <c:pt idx="2428">
                  <c:v>-3.1187997990099869E-3</c:v>
                </c:pt>
                <c:pt idx="2429">
                  <c:v>-3.2170661254903748E-3</c:v>
                </c:pt>
                <c:pt idx="2430">
                  <c:v>-3.257416656027373E-3</c:v>
                </c:pt>
                <c:pt idx="2431">
                  <c:v>-3.2044524994068631E-3</c:v>
                </c:pt>
                <c:pt idx="2432">
                  <c:v>-3.1047342414773252E-3</c:v>
                </c:pt>
                <c:pt idx="2433">
                  <c:v>-3.0279611255350832E-3</c:v>
                </c:pt>
                <c:pt idx="2434">
                  <c:v>-2.9720953503854048E-3</c:v>
                </c:pt>
                <c:pt idx="2435">
                  <c:v>-2.7505330511943811E-3</c:v>
                </c:pt>
                <c:pt idx="2436">
                  <c:v>-2.4197856579882522E-3</c:v>
                </c:pt>
                <c:pt idx="2437">
                  <c:v>-2.3087134749120684E-3</c:v>
                </c:pt>
                <c:pt idx="2438">
                  <c:v>-2.3017529134190268E-3</c:v>
                </c:pt>
                <c:pt idx="2439">
                  <c:v>-2.1671659871657081E-3</c:v>
                </c:pt>
                <c:pt idx="2440">
                  <c:v>-1.9735074006547119E-3</c:v>
                </c:pt>
                <c:pt idx="2441">
                  <c:v>-1.7790596295567266E-3</c:v>
                </c:pt>
                <c:pt idx="2442">
                  <c:v>-1.6042919671753236E-3</c:v>
                </c:pt>
                <c:pt idx="2443">
                  <c:v>-1.9891912194107057E-3</c:v>
                </c:pt>
                <c:pt idx="2444">
                  <c:v>-2.3231105435182454E-3</c:v>
                </c:pt>
                <c:pt idx="2445">
                  <c:v>-2.3438932165942717E-3</c:v>
                </c:pt>
                <c:pt idx="2446">
                  <c:v>-2.1395350944227731E-3</c:v>
                </c:pt>
                <c:pt idx="2447">
                  <c:v>-1.9859245240656086E-3</c:v>
                </c:pt>
                <c:pt idx="2448">
                  <c:v>-1.8409754009618261E-3</c:v>
                </c:pt>
                <c:pt idx="2449">
                  <c:v>-1.6935912624834104E-3</c:v>
                </c:pt>
                <c:pt idx="2450">
                  <c:v>-1.6308051033006596E-3</c:v>
                </c:pt>
                <c:pt idx="2451">
                  <c:v>-1.6732661718545363E-3</c:v>
                </c:pt>
                <c:pt idx="2452">
                  <c:v>-1.8649375037737559E-3</c:v>
                </c:pt>
                <c:pt idx="2453">
                  <c:v>-1.9838717949246763E-3</c:v>
                </c:pt>
                <c:pt idx="2454">
                  <c:v>-2.003319277886044E-3</c:v>
                </c:pt>
                <c:pt idx="2455">
                  <c:v>-1.5712351977730408E-3</c:v>
                </c:pt>
                <c:pt idx="2456">
                  <c:v>-1.1689555378837143E-3</c:v>
                </c:pt>
                <c:pt idx="2457">
                  <c:v>-8.1921958961431694E-4</c:v>
                </c:pt>
                <c:pt idx="2458">
                  <c:v>-6.8047794116017375E-4</c:v>
                </c:pt>
                <c:pt idx="2459">
                  <c:v>-8.3372431537368126E-4</c:v>
                </c:pt>
                <c:pt idx="2460">
                  <c:v>-1.2386704117676615E-3</c:v>
                </c:pt>
                <c:pt idx="2461">
                  <c:v>-1.4868855355249788E-3</c:v>
                </c:pt>
                <c:pt idx="2462">
                  <c:v>-1.5367718706746011E-3</c:v>
                </c:pt>
                <c:pt idx="2463">
                  <c:v>-1.4989780186462345E-3</c:v>
                </c:pt>
                <c:pt idx="2464">
                  <c:v>-1.3885577787517457E-3</c:v>
                </c:pt>
                <c:pt idx="2465">
                  <c:v>-1.3167343735681373E-3</c:v>
                </c:pt>
                <c:pt idx="2466">
                  <c:v>-1.2985397003845729E-3</c:v>
                </c:pt>
                <c:pt idx="2467">
                  <c:v>-1.7336158407111561E-3</c:v>
                </c:pt>
                <c:pt idx="2468">
                  <c:v>-2.1608715726285461E-3</c:v>
                </c:pt>
                <c:pt idx="2469">
                  <c:v>-2.6587065987276684E-3</c:v>
                </c:pt>
                <c:pt idx="2470">
                  <c:v>-2.853049178754224E-3</c:v>
                </c:pt>
                <c:pt idx="2471">
                  <c:v>-2.8936449649445079E-3</c:v>
                </c:pt>
                <c:pt idx="2472">
                  <c:v>-3.1965188684352584E-3</c:v>
                </c:pt>
                <c:pt idx="2473">
                  <c:v>-3.6218132187003892E-3</c:v>
                </c:pt>
                <c:pt idx="2474">
                  <c:v>-4.2759835750593705E-3</c:v>
                </c:pt>
                <c:pt idx="2475">
                  <c:v>-5.2194651023616491E-3</c:v>
                </c:pt>
                <c:pt idx="2476">
                  <c:v>-6.2085737334386217E-3</c:v>
                </c:pt>
                <c:pt idx="2477">
                  <c:v>-6.8924760380447208E-3</c:v>
                </c:pt>
                <c:pt idx="2478">
                  <c:v>-7.3860541546274588E-3</c:v>
                </c:pt>
                <c:pt idx="2479">
                  <c:v>-7.5158619810186556E-3</c:v>
                </c:pt>
                <c:pt idx="2480">
                  <c:v>-7.6554120346511E-3</c:v>
                </c:pt>
                <c:pt idx="2481">
                  <c:v>-7.8357150328627421E-3</c:v>
                </c:pt>
                <c:pt idx="2482">
                  <c:v>-8.0439652096360743E-3</c:v>
                </c:pt>
                <c:pt idx="2483">
                  <c:v>-8.1572237168014514E-3</c:v>
                </c:pt>
                <c:pt idx="2484">
                  <c:v>-7.506697055149324E-3</c:v>
                </c:pt>
                <c:pt idx="2485">
                  <c:v>-7.1627488388115489E-3</c:v>
                </c:pt>
                <c:pt idx="2486">
                  <c:v>-6.7965048675127067E-3</c:v>
                </c:pt>
                <c:pt idx="2487">
                  <c:v>-6.7272815299014455E-3</c:v>
                </c:pt>
                <c:pt idx="2488">
                  <c:v>-6.7360939915219673E-3</c:v>
                </c:pt>
                <c:pt idx="2489">
                  <c:v>-6.7628960607627221E-3</c:v>
                </c:pt>
                <c:pt idx="2490">
                  <c:v>-6.7387015096529237E-3</c:v>
                </c:pt>
                <c:pt idx="2491">
                  <c:v>-6.684584590683898E-3</c:v>
                </c:pt>
                <c:pt idx="2492">
                  <c:v>-6.4624270315076131E-3</c:v>
                </c:pt>
                <c:pt idx="2493">
                  <c:v>-5.8868800355198975E-3</c:v>
                </c:pt>
                <c:pt idx="2494">
                  <c:v>-5.3899090020304999E-3</c:v>
                </c:pt>
                <c:pt idx="2495">
                  <c:v>-5.1678178150353447E-3</c:v>
                </c:pt>
                <c:pt idx="2496">
                  <c:v>-5.0881160721365469E-3</c:v>
                </c:pt>
                <c:pt idx="2497">
                  <c:v>-5.6078757173883224E-3</c:v>
                </c:pt>
                <c:pt idx="2498">
                  <c:v>-6.4862828861649759E-3</c:v>
                </c:pt>
                <c:pt idx="2499">
                  <c:v>-7.2141427421629732E-3</c:v>
                </c:pt>
                <c:pt idx="2500">
                  <c:v>-7.8049965242640712E-3</c:v>
                </c:pt>
                <c:pt idx="2501">
                  <c:v>-7.6832904857536393E-3</c:v>
                </c:pt>
                <c:pt idx="2502">
                  <c:v>-8.0612286488078045E-3</c:v>
                </c:pt>
                <c:pt idx="2503">
                  <c:v>-8.3050282032640747E-3</c:v>
                </c:pt>
                <c:pt idx="2504">
                  <c:v>-8.2978126515545064E-3</c:v>
                </c:pt>
                <c:pt idx="2505">
                  <c:v>-7.952447261306745E-3</c:v>
                </c:pt>
                <c:pt idx="2506">
                  <c:v>-7.2425448462425691E-3</c:v>
                </c:pt>
                <c:pt idx="2507">
                  <c:v>-6.3485566279003714E-3</c:v>
                </c:pt>
                <c:pt idx="2508">
                  <c:v>-5.3577087717442719E-3</c:v>
                </c:pt>
                <c:pt idx="2509">
                  <c:v>-4.907580789370823E-3</c:v>
                </c:pt>
                <c:pt idx="2510">
                  <c:v>-4.6338768361862187E-3</c:v>
                </c:pt>
                <c:pt idx="2511">
                  <c:v>-4.4130872400237131E-3</c:v>
                </c:pt>
                <c:pt idx="2512">
                  <c:v>-4.4803005949900377E-3</c:v>
                </c:pt>
                <c:pt idx="2513">
                  <c:v>-4.5610205365421161E-3</c:v>
                </c:pt>
                <c:pt idx="2514">
                  <c:v>-4.7340130081580849E-3</c:v>
                </c:pt>
                <c:pt idx="2515">
                  <c:v>-4.8293999949655768E-3</c:v>
                </c:pt>
                <c:pt idx="2516">
                  <c:v>-4.990180041495481E-3</c:v>
                </c:pt>
                <c:pt idx="2517">
                  <c:v>-5.2408176142768126E-3</c:v>
                </c:pt>
                <c:pt idx="2518">
                  <c:v>-5.4711268684417827E-3</c:v>
                </c:pt>
                <c:pt idx="2519">
                  <c:v>-5.5389741287962726E-3</c:v>
                </c:pt>
                <c:pt idx="2520">
                  <c:v>-5.4922170794461751E-3</c:v>
                </c:pt>
                <c:pt idx="2521">
                  <c:v>-5.0467828900117662E-3</c:v>
                </c:pt>
                <c:pt idx="2522">
                  <c:v>-4.6727121993849399E-3</c:v>
                </c:pt>
                <c:pt idx="2523">
                  <c:v>-4.6004917452624125E-3</c:v>
                </c:pt>
                <c:pt idx="2524">
                  <c:v>-4.5460116031397577E-3</c:v>
                </c:pt>
                <c:pt idx="2525">
                  <c:v>-4.5944885540106957E-3</c:v>
                </c:pt>
                <c:pt idx="2526">
                  <c:v>-5.033712111457575E-3</c:v>
                </c:pt>
                <c:pt idx="2527">
                  <c:v>-5.4026184326201399E-3</c:v>
                </c:pt>
                <c:pt idx="2528">
                  <c:v>-5.1588328019699526E-3</c:v>
                </c:pt>
                <c:pt idx="2529">
                  <c:v>-4.8469099231181478E-3</c:v>
                </c:pt>
                <c:pt idx="2530">
                  <c:v>-4.5845384783499196E-3</c:v>
                </c:pt>
                <c:pt idx="2531">
                  <c:v>-4.6966059439754329E-3</c:v>
                </c:pt>
                <c:pt idx="2532">
                  <c:v>-4.7329925987064239E-3</c:v>
                </c:pt>
                <c:pt idx="2533">
                  <c:v>-4.6928877025383614E-3</c:v>
                </c:pt>
                <c:pt idx="2534">
                  <c:v>-4.6470385638999702E-3</c:v>
                </c:pt>
                <c:pt idx="2535">
                  <c:v>-4.8507155132011441E-3</c:v>
                </c:pt>
                <c:pt idx="2536">
                  <c:v>-5.014995948139131E-3</c:v>
                </c:pt>
                <c:pt idx="2537">
                  <c:v>-5.1064823223032811E-3</c:v>
                </c:pt>
                <c:pt idx="2538">
                  <c:v>-5.1792592262417418E-3</c:v>
                </c:pt>
                <c:pt idx="2539">
                  <c:v>-5.1173052162002755E-3</c:v>
                </c:pt>
                <c:pt idx="2540">
                  <c:v>-5.0576202056284028E-3</c:v>
                </c:pt>
                <c:pt idx="2541">
                  <c:v>-4.9291917032818567E-3</c:v>
                </c:pt>
                <c:pt idx="2542">
                  <c:v>-4.6820654136602857E-3</c:v>
                </c:pt>
                <c:pt idx="2543">
                  <c:v>-4.1408142779935523E-3</c:v>
                </c:pt>
                <c:pt idx="2544">
                  <c:v>-3.3374574442478523E-3</c:v>
                </c:pt>
                <c:pt idx="2545">
                  <c:v>-3.069878281501166E-3</c:v>
                </c:pt>
                <c:pt idx="2546">
                  <c:v>-2.6541606371233376E-3</c:v>
                </c:pt>
                <c:pt idx="2547">
                  <c:v>-1.8901533684880381E-3</c:v>
                </c:pt>
                <c:pt idx="2548">
                  <c:v>-1.0185908592317021E-3</c:v>
                </c:pt>
                <c:pt idx="2549">
                  <c:v>-2.3820720008121705E-4</c:v>
                </c:pt>
                <c:pt idx="2550">
                  <c:v>5.0382594166048338E-4</c:v>
                </c:pt>
                <c:pt idx="2551">
                  <c:v>6.0009294676148517E-4</c:v>
                </c:pt>
                <c:pt idx="2552">
                  <c:v>5.3641688285861657E-4</c:v>
                </c:pt>
                <c:pt idx="2553">
                  <c:v>5.9040069543245602E-4</c:v>
                </c:pt>
                <c:pt idx="2554">
                  <c:v>1.4199686906173053E-3</c:v>
                </c:pt>
                <c:pt idx="2555">
                  <c:v>1.4222156723272599E-3</c:v>
                </c:pt>
                <c:pt idx="2556">
                  <c:v>1.3847598518375642E-3</c:v>
                </c:pt>
                <c:pt idx="2557">
                  <c:v>1.5780633476382864E-3</c:v>
                </c:pt>
                <c:pt idx="2558">
                  <c:v>1.5528717100022436E-3</c:v>
                </c:pt>
                <c:pt idx="2559">
                  <c:v>1.4248071700443182E-3</c:v>
                </c:pt>
                <c:pt idx="2560">
                  <c:v>1.2675193454486575E-3</c:v>
                </c:pt>
                <c:pt idx="2561">
                  <c:v>1.0597121864915036E-3</c:v>
                </c:pt>
                <c:pt idx="2562">
                  <c:v>1.0770693445994028E-3</c:v>
                </c:pt>
                <c:pt idx="2563">
                  <c:v>1.0836663375043687E-3</c:v>
                </c:pt>
                <c:pt idx="2564">
                  <c:v>1.0319809112244102E-3</c:v>
                </c:pt>
                <c:pt idx="2565">
                  <c:v>1.0705714686716338E-3</c:v>
                </c:pt>
                <c:pt idx="2566">
                  <c:v>1.1177429195781989E-3</c:v>
                </c:pt>
                <c:pt idx="2567">
                  <c:v>1.0477015590397319E-3</c:v>
                </c:pt>
                <c:pt idx="2568">
                  <c:v>1.0205487076530026E-3</c:v>
                </c:pt>
                <c:pt idx="2569">
                  <c:v>9.9582276418341917E-4</c:v>
                </c:pt>
                <c:pt idx="2570">
                  <c:v>9.5500406327795034E-4</c:v>
                </c:pt>
                <c:pt idx="2571">
                  <c:v>7.5919266718134457E-4</c:v>
                </c:pt>
                <c:pt idx="2572">
                  <c:v>7.4265946843299607E-4</c:v>
                </c:pt>
                <c:pt idx="2573">
                  <c:v>5.9834947318146686E-4</c:v>
                </c:pt>
                <c:pt idx="2574">
                  <c:v>4.30926074061499E-4</c:v>
                </c:pt>
                <c:pt idx="2575">
                  <c:v>3.2903828547555143E-4</c:v>
                </c:pt>
                <c:pt idx="2576">
                  <c:v>2.4981484491669054E-4</c:v>
                </c:pt>
                <c:pt idx="2577">
                  <c:v>-6.0295330562452551E-6</c:v>
                </c:pt>
                <c:pt idx="2578">
                  <c:v>-1.0088237437080351E-4</c:v>
                </c:pt>
                <c:pt idx="2579">
                  <c:v>-4.3444437733568351E-4</c:v>
                </c:pt>
                <c:pt idx="2580">
                  <c:v>-7.0694071629432819E-4</c:v>
                </c:pt>
                <c:pt idx="2581">
                  <c:v>-9.425526984056477E-4</c:v>
                </c:pt>
                <c:pt idx="2582">
                  <c:v>-1.1318537428730985E-3</c:v>
                </c:pt>
                <c:pt idx="2583">
                  <c:v>-1.3801756152867608E-3</c:v>
                </c:pt>
                <c:pt idx="2584">
                  <c:v>-2.5723067855873472E-3</c:v>
                </c:pt>
                <c:pt idx="2585">
                  <c:v>-3.0248150856613336E-3</c:v>
                </c:pt>
                <c:pt idx="2586">
                  <c:v>-3.1426807727277604E-3</c:v>
                </c:pt>
                <c:pt idx="2587">
                  <c:v>-3.6768866372163425E-3</c:v>
                </c:pt>
                <c:pt idx="2588">
                  <c:v>-2.6564307371245892E-3</c:v>
                </c:pt>
                <c:pt idx="2589">
                  <c:v>-1.7772291748856493E-3</c:v>
                </c:pt>
                <c:pt idx="2590">
                  <c:v>-1.1249621137035997E-3</c:v>
                </c:pt>
                <c:pt idx="2591">
                  <c:v>-8.0072596033646699E-4</c:v>
                </c:pt>
                <c:pt idx="2592">
                  <c:v>-6.6621339443319154E-4</c:v>
                </c:pt>
                <c:pt idx="2593">
                  <c:v>-6.9746947202261114E-4</c:v>
                </c:pt>
                <c:pt idx="2594">
                  <c:v>-7.6567490639037339E-4</c:v>
                </c:pt>
                <c:pt idx="2595">
                  <c:v>-7.787088863811225E-4</c:v>
                </c:pt>
                <c:pt idx="2596">
                  <c:v>-7.8470926970011182E-4</c:v>
                </c:pt>
                <c:pt idx="2597">
                  <c:v>-7.9450124044488143E-4</c:v>
                </c:pt>
                <c:pt idx="2598">
                  <c:v>-8.6672027636914423E-4</c:v>
                </c:pt>
                <c:pt idx="2599">
                  <c:v>-9.3838784336033789E-4</c:v>
                </c:pt>
                <c:pt idx="2600">
                  <c:v>-1.0838405431739424E-3</c:v>
                </c:pt>
                <c:pt idx="2601">
                  <c:v>-1.007023649569787E-3</c:v>
                </c:pt>
                <c:pt idx="2602">
                  <c:v>-9.7195808765007663E-4</c:v>
                </c:pt>
                <c:pt idx="2603">
                  <c:v>-1.3647925857384171E-3</c:v>
                </c:pt>
                <c:pt idx="2604">
                  <c:v>-1.9194751802297065E-3</c:v>
                </c:pt>
                <c:pt idx="2605">
                  <c:v>-2.3559903600972824E-3</c:v>
                </c:pt>
                <c:pt idx="2606">
                  <c:v>-2.6867932461600635E-3</c:v>
                </c:pt>
                <c:pt idx="2607">
                  <c:v>-2.1489978893572195E-3</c:v>
                </c:pt>
                <c:pt idx="2608">
                  <c:v>-1.9142925866659317E-3</c:v>
                </c:pt>
                <c:pt idx="2609">
                  <c:v>-1.8761079834317155E-3</c:v>
                </c:pt>
                <c:pt idx="2610">
                  <c:v>-2.1577326173003895E-3</c:v>
                </c:pt>
                <c:pt idx="2611">
                  <c:v>-2.2376784992917207E-3</c:v>
                </c:pt>
                <c:pt idx="2612">
                  <c:v>-2.3512680734914752E-3</c:v>
                </c:pt>
                <c:pt idx="2613">
                  <c:v>-2.2927920858884492E-3</c:v>
                </c:pt>
                <c:pt idx="2614">
                  <c:v>-1.9908251559925981E-3</c:v>
                </c:pt>
                <c:pt idx="2615">
                  <c:v>-1.6157085749011549E-3</c:v>
                </c:pt>
                <c:pt idx="2616">
                  <c:v>-1.206578801027698E-3</c:v>
                </c:pt>
                <c:pt idx="2617">
                  <c:v>-8.9627751450497336E-4</c:v>
                </c:pt>
                <c:pt idx="2618">
                  <c:v>-1.0015953072558276E-3</c:v>
                </c:pt>
                <c:pt idx="2619">
                  <c:v>-1.1962859633039028E-3</c:v>
                </c:pt>
                <c:pt idx="2620">
                  <c:v>-1.4015012890820494E-3</c:v>
                </c:pt>
                <c:pt idx="2621">
                  <c:v>-1.5411557099329655E-3</c:v>
                </c:pt>
                <c:pt idx="2622">
                  <c:v>-1.6476737006519502E-3</c:v>
                </c:pt>
                <c:pt idx="2623">
                  <c:v>-1.7701847735090981E-3</c:v>
                </c:pt>
                <c:pt idx="2624">
                  <c:v>-1.6605262626186333E-3</c:v>
                </c:pt>
                <c:pt idx="2625">
                  <c:v>-1.5764854545866087E-3</c:v>
                </c:pt>
                <c:pt idx="2626">
                  <c:v>-1.4258867233729921E-3</c:v>
                </c:pt>
                <c:pt idx="2627">
                  <c:v>-1.0092030360155761E-3</c:v>
                </c:pt>
                <c:pt idx="2628">
                  <c:v>-2.4602128835571075E-4</c:v>
                </c:pt>
                <c:pt idx="2629">
                  <c:v>4.5214297112307258E-4</c:v>
                </c:pt>
                <c:pt idx="2630">
                  <c:v>7.4591649257576588E-4</c:v>
                </c:pt>
                <c:pt idx="2631">
                  <c:v>5.188036262904509E-4</c:v>
                </c:pt>
                <c:pt idx="2632">
                  <c:v>2.8061660780382899E-4</c:v>
                </c:pt>
                <c:pt idx="2633">
                  <c:v>4.9729567732561923E-4</c:v>
                </c:pt>
                <c:pt idx="2634">
                  <c:v>9.4324068747388221E-4</c:v>
                </c:pt>
                <c:pt idx="2635">
                  <c:v>1.5435104202367253E-3</c:v>
                </c:pt>
                <c:pt idx="2636">
                  <c:v>2.0577441295973999E-3</c:v>
                </c:pt>
                <c:pt idx="2637">
                  <c:v>1.4006140731665602E-3</c:v>
                </c:pt>
                <c:pt idx="2638">
                  <c:v>4.5918851002904257E-4</c:v>
                </c:pt>
                <c:pt idx="2639">
                  <c:v>-1.1985925573450035E-4</c:v>
                </c:pt>
                <c:pt idx="2640">
                  <c:v>1.2355558400560518E-5</c:v>
                </c:pt>
                <c:pt idx="2641">
                  <c:v>1.3981617689833893E-4</c:v>
                </c:pt>
                <c:pt idx="2642">
                  <c:v>2.6571224089794263E-4</c:v>
                </c:pt>
                <c:pt idx="2643">
                  <c:v>2.6572701959060724E-4</c:v>
                </c:pt>
                <c:pt idx="2644">
                  <c:v>8.980235110350402E-4</c:v>
                </c:pt>
                <c:pt idx="2645">
                  <c:v>1.6385951789901114E-3</c:v>
                </c:pt>
                <c:pt idx="2646">
                  <c:v>1.8498331434349822E-3</c:v>
                </c:pt>
                <c:pt idx="2647">
                  <c:v>1.8622325813028211E-3</c:v>
                </c:pt>
                <c:pt idx="2648">
                  <c:v>1.7551851288782399E-3</c:v>
                </c:pt>
                <c:pt idx="2649">
                  <c:v>1.8313526459048032E-3</c:v>
                </c:pt>
                <c:pt idx="2650">
                  <c:v>2.1921906809998599E-3</c:v>
                </c:pt>
                <c:pt idx="2651">
                  <c:v>2.3851065797564274E-3</c:v>
                </c:pt>
                <c:pt idx="2652">
                  <c:v>2.3304086760119296E-3</c:v>
                </c:pt>
                <c:pt idx="2653">
                  <c:v>2.2358723397741228E-3</c:v>
                </c:pt>
                <c:pt idx="2654">
                  <c:v>2.2035174033336255E-3</c:v>
                </c:pt>
                <c:pt idx="2655">
                  <c:v>2.3965389221368922E-3</c:v>
                </c:pt>
                <c:pt idx="2656">
                  <c:v>2.133817366535549E-3</c:v>
                </c:pt>
                <c:pt idx="2657">
                  <c:v>7.5603692919025065E-4</c:v>
                </c:pt>
                <c:pt idx="2658">
                  <c:v>-8.5268057442384679E-4</c:v>
                </c:pt>
                <c:pt idx="2659">
                  <c:v>-2.3310949041248849E-3</c:v>
                </c:pt>
                <c:pt idx="2660">
                  <c:v>-3.3337182833894485E-3</c:v>
                </c:pt>
                <c:pt idx="2661">
                  <c:v>-3.6031836492324953E-3</c:v>
                </c:pt>
                <c:pt idx="2662">
                  <c:v>-3.376315425639053E-3</c:v>
                </c:pt>
                <c:pt idx="2663">
                  <c:v>-3.0478522027931661E-3</c:v>
                </c:pt>
                <c:pt idx="2664">
                  <c:v>-2.6916209017708425E-3</c:v>
                </c:pt>
                <c:pt idx="2665">
                  <c:v>-2.6352996490621623E-3</c:v>
                </c:pt>
                <c:pt idx="2666">
                  <c:v>-2.7637315286490466E-3</c:v>
                </c:pt>
                <c:pt idx="2667">
                  <c:v>-2.9724610432897893E-3</c:v>
                </c:pt>
                <c:pt idx="2668">
                  <c:v>-3.1851611758818375E-3</c:v>
                </c:pt>
                <c:pt idx="2669">
                  <c:v>-3.3501917900471655E-3</c:v>
                </c:pt>
                <c:pt idx="2670">
                  <c:v>-3.3055877024059151E-3</c:v>
                </c:pt>
                <c:pt idx="2671">
                  <c:v>-3.5330101858510026E-3</c:v>
                </c:pt>
                <c:pt idx="2672">
                  <c:v>-3.6191934148359743E-3</c:v>
                </c:pt>
                <c:pt idx="2673">
                  <c:v>-3.7869517258467839E-3</c:v>
                </c:pt>
                <c:pt idx="2674">
                  <c:v>-4.3042450450918018E-3</c:v>
                </c:pt>
                <c:pt idx="2675">
                  <c:v>-4.9727616380336181E-3</c:v>
                </c:pt>
                <c:pt idx="2676">
                  <c:v>-5.3274440941557342E-3</c:v>
                </c:pt>
                <c:pt idx="2677">
                  <c:v>-5.5186424635011184E-3</c:v>
                </c:pt>
                <c:pt idx="2678">
                  <c:v>-5.4166721247946806E-3</c:v>
                </c:pt>
                <c:pt idx="2679">
                  <c:v>-5.2109411709040342E-3</c:v>
                </c:pt>
                <c:pt idx="2680">
                  <c:v>-5.3359317252897054E-3</c:v>
                </c:pt>
                <c:pt idx="2681">
                  <c:v>-5.3806000943214406E-3</c:v>
                </c:pt>
                <c:pt idx="2682">
                  <c:v>-5.4642620642589047E-3</c:v>
                </c:pt>
                <c:pt idx="2683">
                  <c:v>-5.5038678410295264E-3</c:v>
                </c:pt>
                <c:pt idx="2684">
                  <c:v>-5.7204604579015206E-3</c:v>
                </c:pt>
                <c:pt idx="2685">
                  <c:v>-6.159218079550121E-3</c:v>
                </c:pt>
                <c:pt idx="2686">
                  <c:v>-6.4049611630850947E-3</c:v>
                </c:pt>
                <c:pt idx="2687">
                  <c:v>-6.061424112423764E-3</c:v>
                </c:pt>
                <c:pt idx="2688">
                  <c:v>-5.4403348810509707E-3</c:v>
                </c:pt>
                <c:pt idx="2689">
                  <c:v>-4.45328960614573E-3</c:v>
                </c:pt>
                <c:pt idx="2690">
                  <c:v>-3.3293947736114365E-3</c:v>
                </c:pt>
                <c:pt idx="2691">
                  <c:v>-2.148808526904091E-3</c:v>
                </c:pt>
                <c:pt idx="2692">
                  <c:v>-1.27584341223162E-3</c:v>
                </c:pt>
                <c:pt idx="2693">
                  <c:v>-1.1425418894794436E-3</c:v>
                </c:pt>
                <c:pt idx="2694">
                  <c:v>-1.5130019774994945E-3</c:v>
                </c:pt>
                <c:pt idx="2695">
                  <c:v>-2.4011644759416298E-3</c:v>
                </c:pt>
                <c:pt idx="2696">
                  <c:v>-3.3096421486756089E-3</c:v>
                </c:pt>
                <c:pt idx="2697">
                  <c:v>-4.0092946112168758E-3</c:v>
                </c:pt>
                <c:pt idx="2698">
                  <c:v>-4.1174669078582497E-3</c:v>
                </c:pt>
                <c:pt idx="2699">
                  <c:v>-4.0054308457140118E-3</c:v>
                </c:pt>
                <c:pt idx="2700">
                  <c:v>-4.1053722442017868E-3</c:v>
                </c:pt>
                <c:pt idx="2701">
                  <c:v>-3.9243100532198646E-3</c:v>
                </c:pt>
                <c:pt idx="2702">
                  <c:v>-3.7444350700024439E-3</c:v>
                </c:pt>
                <c:pt idx="2703">
                  <c:v>-3.8056527076697462E-3</c:v>
                </c:pt>
                <c:pt idx="2704">
                  <c:v>-3.8678537240777492E-3</c:v>
                </c:pt>
                <c:pt idx="2705">
                  <c:v>-3.4189096305854609E-3</c:v>
                </c:pt>
                <c:pt idx="2706">
                  <c:v>-3.4295490669729563E-3</c:v>
                </c:pt>
                <c:pt idx="2707">
                  <c:v>-3.4731700832101664E-3</c:v>
                </c:pt>
                <c:pt idx="2708">
                  <c:v>-3.6091799678691014E-3</c:v>
                </c:pt>
                <c:pt idx="2709">
                  <c:v>-4.4769670761496318E-3</c:v>
                </c:pt>
                <c:pt idx="2710">
                  <c:v>-5.3344656798489844E-3</c:v>
                </c:pt>
                <c:pt idx="2711">
                  <c:v>-6.2554371413052574E-3</c:v>
                </c:pt>
                <c:pt idx="2712">
                  <c:v>-6.5916077407038188E-3</c:v>
                </c:pt>
                <c:pt idx="2713">
                  <c:v>-6.7215410885310576E-3</c:v>
                </c:pt>
                <c:pt idx="2714">
                  <c:v>-6.6316063832140455E-3</c:v>
                </c:pt>
                <c:pt idx="2715">
                  <c:v>-6.5346218876785427E-3</c:v>
                </c:pt>
                <c:pt idx="2716">
                  <c:v>-6.4122663370488418E-3</c:v>
                </c:pt>
                <c:pt idx="2717">
                  <c:v>-6.3417514579694207E-3</c:v>
                </c:pt>
                <c:pt idx="2718">
                  <c:v>-6.3233401762202036E-3</c:v>
                </c:pt>
                <c:pt idx="2719">
                  <c:v>-6.2731416411741531E-3</c:v>
                </c:pt>
                <c:pt idx="2720">
                  <c:v>-6.2701762095366135E-3</c:v>
                </c:pt>
                <c:pt idx="2721">
                  <c:v>-6.3121872525954232E-3</c:v>
                </c:pt>
                <c:pt idx="2722">
                  <c:v>-6.3455823162308555E-3</c:v>
                </c:pt>
                <c:pt idx="2723">
                  <c:v>-6.2026308081931962E-3</c:v>
                </c:pt>
                <c:pt idx="2724">
                  <c:v>-5.7336946007177291E-3</c:v>
                </c:pt>
                <c:pt idx="2725">
                  <c:v>-4.8822970273171241E-3</c:v>
                </c:pt>
                <c:pt idx="2726">
                  <c:v>-3.584211804169196E-3</c:v>
                </c:pt>
                <c:pt idx="2727">
                  <c:v>-2.1151202817704731E-3</c:v>
                </c:pt>
                <c:pt idx="2728">
                  <c:v>-1.2267130393912576E-3</c:v>
                </c:pt>
                <c:pt idx="2729">
                  <c:v>-7.3210211158698888E-4</c:v>
                </c:pt>
                <c:pt idx="2730">
                  <c:v>-3.7325087375406378E-4</c:v>
                </c:pt>
                <c:pt idx="2731">
                  <c:v>1.2390576103752686E-3</c:v>
                </c:pt>
                <c:pt idx="2732">
                  <c:v>2.0979835917085063E-3</c:v>
                </c:pt>
                <c:pt idx="2733">
                  <c:v>1.8898703017626449E-3</c:v>
                </c:pt>
                <c:pt idx="2734">
                  <c:v>1.3407682545368222E-3</c:v>
                </c:pt>
                <c:pt idx="2735">
                  <c:v>3.9316761701392935E-4</c:v>
                </c:pt>
                <c:pt idx="2736">
                  <c:v>-1.1068614347716959E-3</c:v>
                </c:pt>
                <c:pt idx="2737">
                  <c:v>-2.2903008754708654E-3</c:v>
                </c:pt>
                <c:pt idx="2738">
                  <c:v>-3.2476972480227377E-3</c:v>
                </c:pt>
                <c:pt idx="2739">
                  <c:v>-3.7894393260590898E-3</c:v>
                </c:pt>
                <c:pt idx="2740">
                  <c:v>-5.3108747910021025E-3</c:v>
                </c:pt>
                <c:pt idx="2741">
                  <c:v>-6.5187022266529147E-3</c:v>
                </c:pt>
                <c:pt idx="2742">
                  <c:v>-7.0129689519293596E-3</c:v>
                </c:pt>
                <c:pt idx="2743">
                  <c:v>-6.4115271069751512E-3</c:v>
                </c:pt>
                <c:pt idx="2744">
                  <c:v>-5.8873044911920943E-3</c:v>
                </c:pt>
                <c:pt idx="2745">
                  <c:v>-5.4918348714068921E-3</c:v>
                </c:pt>
                <c:pt idx="2746">
                  <c:v>-5.2626638754785706E-3</c:v>
                </c:pt>
                <c:pt idx="2747">
                  <c:v>-5.1932615478408198E-3</c:v>
                </c:pt>
                <c:pt idx="2748">
                  <c:v>-5.0751370447952113E-3</c:v>
                </c:pt>
                <c:pt idx="2749">
                  <c:v>-5.055560687396243E-3</c:v>
                </c:pt>
                <c:pt idx="2750">
                  <c:v>-5.1250940337519181E-3</c:v>
                </c:pt>
                <c:pt idx="2751">
                  <c:v>-5.2220087342464087E-3</c:v>
                </c:pt>
                <c:pt idx="2752">
                  <c:v>-5.3169218416474762E-3</c:v>
                </c:pt>
                <c:pt idx="2753">
                  <c:v>-5.3622739263707898E-3</c:v>
                </c:pt>
                <c:pt idx="2754">
                  <c:v>-4.0178196682790022E-3</c:v>
                </c:pt>
                <c:pt idx="2755">
                  <c:v>-4.0722827318088028E-3</c:v>
                </c:pt>
                <c:pt idx="2756">
                  <c:v>-4.2103886622771904E-3</c:v>
                </c:pt>
                <c:pt idx="2757">
                  <c:v>-3.7930346050709385E-3</c:v>
                </c:pt>
                <c:pt idx="2758">
                  <c:v>-3.5928726938582074E-3</c:v>
                </c:pt>
                <c:pt idx="2759">
                  <c:v>-3.4922465438466631E-3</c:v>
                </c:pt>
                <c:pt idx="2760">
                  <c:v>-3.3770328349695625E-3</c:v>
                </c:pt>
                <c:pt idx="2761">
                  <c:v>-3.91673464748034E-3</c:v>
                </c:pt>
                <c:pt idx="2762">
                  <c:v>-4.2922884061734907E-3</c:v>
                </c:pt>
                <c:pt idx="2763">
                  <c:v>-4.6169225031886529E-3</c:v>
                </c:pt>
                <c:pt idx="2764">
                  <c:v>-4.8577718572243005E-3</c:v>
                </c:pt>
                <c:pt idx="2765">
                  <c:v>-5.0160083624423476E-3</c:v>
                </c:pt>
                <c:pt idx="2766">
                  <c:v>-4.9922540027179489E-3</c:v>
                </c:pt>
                <c:pt idx="2767">
                  <c:v>-4.883097280821546E-3</c:v>
                </c:pt>
                <c:pt idx="2768">
                  <c:v>-4.7822085488061668E-3</c:v>
                </c:pt>
                <c:pt idx="2769">
                  <c:v>-4.8222145794400931E-3</c:v>
                </c:pt>
                <c:pt idx="2770">
                  <c:v>-4.1698349965133327E-3</c:v>
                </c:pt>
                <c:pt idx="2771">
                  <c:v>-3.3079614503762258E-3</c:v>
                </c:pt>
                <c:pt idx="2772">
                  <c:v>-2.2474767277665866E-3</c:v>
                </c:pt>
                <c:pt idx="2773">
                  <c:v>-1.6962672358455284E-3</c:v>
                </c:pt>
                <c:pt idx="2774">
                  <c:v>-1.8297771103390533E-3</c:v>
                </c:pt>
                <c:pt idx="2775">
                  <c:v>-2.2805874267925758E-3</c:v>
                </c:pt>
                <c:pt idx="2776">
                  <c:v>-2.7618974090567513E-3</c:v>
                </c:pt>
                <c:pt idx="2777">
                  <c:v>-3.1951183636320917E-3</c:v>
                </c:pt>
                <c:pt idx="2778">
                  <c:v>-4.1545222433666124E-3</c:v>
                </c:pt>
                <c:pt idx="2779">
                  <c:v>-4.9568805437733184E-3</c:v>
                </c:pt>
                <c:pt idx="2780">
                  <c:v>-5.0505161685452955E-3</c:v>
                </c:pt>
                <c:pt idx="2781">
                  <c:v>-4.0622751477617427E-3</c:v>
                </c:pt>
                <c:pt idx="2782">
                  <c:v>-3.1505512556513852E-3</c:v>
                </c:pt>
                <c:pt idx="2783">
                  <c:v>-2.865367548004611E-3</c:v>
                </c:pt>
                <c:pt idx="2784">
                  <c:v>-3.9950409971499581E-3</c:v>
                </c:pt>
                <c:pt idx="2785">
                  <c:v>-3.9851482274900277E-3</c:v>
                </c:pt>
                <c:pt idx="2786">
                  <c:v>-3.7818104105732716E-3</c:v>
                </c:pt>
                <c:pt idx="2787">
                  <c:v>-4.1015913685254549E-3</c:v>
                </c:pt>
                <c:pt idx="2788">
                  <c:v>-3.9141682368681579E-3</c:v>
                </c:pt>
                <c:pt idx="2789">
                  <c:v>-3.7876792290109755E-3</c:v>
                </c:pt>
                <c:pt idx="2790">
                  <c:v>-3.9471288152052413E-3</c:v>
                </c:pt>
                <c:pt idx="2791">
                  <c:v>-4.0903972075299784E-3</c:v>
                </c:pt>
                <c:pt idx="2792">
                  <c:v>-3.8017682342641537E-3</c:v>
                </c:pt>
                <c:pt idx="2793">
                  <c:v>-4.2598221443873457E-3</c:v>
                </c:pt>
                <c:pt idx="2794">
                  <c:v>-4.6718856605257909E-3</c:v>
                </c:pt>
                <c:pt idx="2795">
                  <c:v>-4.7909701125227241E-3</c:v>
                </c:pt>
                <c:pt idx="2796">
                  <c:v>-4.7167304506471868E-3</c:v>
                </c:pt>
                <c:pt idx="2797">
                  <c:v>-5.0901800104328661E-3</c:v>
                </c:pt>
                <c:pt idx="2798">
                  <c:v>-5.6731568479564641E-3</c:v>
                </c:pt>
                <c:pt idx="2799">
                  <c:v>-6.242686579546344E-3</c:v>
                </c:pt>
                <c:pt idx="2800">
                  <c:v>-5.9021670132501994E-3</c:v>
                </c:pt>
                <c:pt idx="2801">
                  <c:v>-6.43989776003559E-3</c:v>
                </c:pt>
                <c:pt idx="2802">
                  <c:v>-6.802771253888942E-3</c:v>
                </c:pt>
                <c:pt idx="2803">
                  <c:v>-7.3573636000309039E-3</c:v>
                </c:pt>
                <c:pt idx="2804">
                  <c:v>-7.8988306935014758E-3</c:v>
                </c:pt>
                <c:pt idx="2805">
                  <c:v>-8.3261508203496121E-3</c:v>
                </c:pt>
                <c:pt idx="2806">
                  <c:v>-8.5166113041078E-3</c:v>
                </c:pt>
                <c:pt idx="2807">
                  <c:v>-8.6149990613017084E-3</c:v>
                </c:pt>
                <c:pt idx="2808">
                  <c:v>-8.4526044852743891E-3</c:v>
                </c:pt>
                <c:pt idx="2809">
                  <c:v>-8.4152739060756668E-3</c:v>
                </c:pt>
                <c:pt idx="2810">
                  <c:v>-8.6640919808488783E-3</c:v>
                </c:pt>
                <c:pt idx="2811">
                  <c:v>-9.8228688688019768E-3</c:v>
                </c:pt>
                <c:pt idx="2812">
                  <c:v>-1.0670926195333132E-2</c:v>
                </c:pt>
                <c:pt idx="2813">
                  <c:v>-1.0703497100986455E-2</c:v>
                </c:pt>
                <c:pt idx="2814">
                  <c:v>-1.0436322834622449E-2</c:v>
                </c:pt>
                <c:pt idx="2815">
                  <c:v>-9.8268456786830931E-3</c:v>
                </c:pt>
                <c:pt idx="2816">
                  <c:v>-9.2717489716925248E-3</c:v>
                </c:pt>
                <c:pt idx="2817">
                  <c:v>-8.8182630125785248E-3</c:v>
                </c:pt>
                <c:pt idx="2818">
                  <c:v>-8.7636065572338027E-3</c:v>
                </c:pt>
                <c:pt idx="2819">
                  <c:v>-8.832228582449227E-3</c:v>
                </c:pt>
                <c:pt idx="2820">
                  <c:v>-8.7048992333799632E-3</c:v>
                </c:pt>
                <c:pt idx="2821">
                  <c:v>-8.5802790183887086E-3</c:v>
                </c:pt>
                <c:pt idx="2822">
                  <c:v>-9.3832040488663129E-3</c:v>
                </c:pt>
                <c:pt idx="2823">
                  <c:v>-9.3067084959832964E-3</c:v>
                </c:pt>
                <c:pt idx="2824">
                  <c:v>-9.24283964924957E-3</c:v>
                </c:pt>
                <c:pt idx="2825">
                  <c:v>-9.4004358686020709E-3</c:v>
                </c:pt>
                <c:pt idx="2826">
                  <c:v>-9.8951362930706152E-3</c:v>
                </c:pt>
                <c:pt idx="2827">
                  <c:v>-1.0312823984050642E-2</c:v>
                </c:pt>
                <c:pt idx="2828">
                  <c:v>-1.0528037144670314E-2</c:v>
                </c:pt>
                <c:pt idx="2829">
                  <c:v>-1.0399347319992572E-2</c:v>
                </c:pt>
                <c:pt idx="2830">
                  <c:v>-1.131809283650911E-2</c:v>
                </c:pt>
                <c:pt idx="2831">
                  <c:v>-1.1160256117949012E-2</c:v>
                </c:pt>
                <c:pt idx="2832">
                  <c:v>-1.1627565373025131E-2</c:v>
                </c:pt>
                <c:pt idx="2833">
                  <c:v>-1.1516734887684793E-2</c:v>
                </c:pt>
                <c:pt idx="2834">
                  <c:v>-1.1095603128923524E-2</c:v>
                </c:pt>
                <c:pt idx="2835">
                  <c:v>-1.0521583154278889E-2</c:v>
                </c:pt>
                <c:pt idx="2836">
                  <c:v>-1.0135044782336001E-2</c:v>
                </c:pt>
                <c:pt idx="2837">
                  <c:v>-9.7016091933039214E-3</c:v>
                </c:pt>
                <c:pt idx="2838">
                  <c:v>-9.1245496263656044E-3</c:v>
                </c:pt>
                <c:pt idx="2839">
                  <c:v>-7.8242342209182188E-3</c:v>
                </c:pt>
                <c:pt idx="2840">
                  <c:v>-6.5092406501291488E-3</c:v>
                </c:pt>
                <c:pt idx="2841">
                  <c:v>-5.1294410556447425E-3</c:v>
                </c:pt>
                <c:pt idx="2842">
                  <c:v>-3.8658857665717387E-3</c:v>
                </c:pt>
                <c:pt idx="2843">
                  <c:v>-2.5606274895093439E-3</c:v>
                </c:pt>
                <c:pt idx="2844">
                  <c:v>-1.2742525380422922E-3</c:v>
                </c:pt>
                <c:pt idx="2845">
                  <c:v>-4.4335869532425697E-4</c:v>
                </c:pt>
                <c:pt idx="2846">
                  <c:v>-3.5689616820213689E-4</c:v>
                </c:pt>
                <c:pt idx="2847">
                  <c:v>-8.6277928119099512E-4</c:v>
                </c:pt>
                <c:pt idx="2848">
                  <c:v>-1.1108654058555522E-3</c:v>
                </c:pt>
                <c:pt idx="2849">
                  <c:v>-1.1683925217598288E-3</c:v>
                </c:pt>
                <c:pt idx="2850">
                  <c:v>-1.2296930797274187E-3</c:v>
                </c:pt>
                <c:pt idx="2851">
                  <c:v>-1.5628155413838487E-3</c:v>
                </c:pt>
                <c:pt idx="2852">
                  <c:v>-1.5088057950684549E-3</c:v>
                </c:pt>
                <c:pt idx="2853">
                  <c:v>-1.527738162129472E-3</c:v>
                </c:pt>
                <c:pt idx="2854">
                  <c:v>-1.3019971838129189E-3</c:v>
                </c:pt>
                <c:pt idx="2855">
                  <c:v>-1.1157506926545678E-3</c:v>
                </c:pt>
                <c:pt idx="2856">
                  <c:v>-1.2591474425507959E-3</c:v>
                </c:pt>
                <c:pt idx="2857">
                  <c:v>-1.747505366046751E-3</c:v>
                </c:pt>
                <c:pt idx="2858">
                  <c:v>-2.0430789565271225E-3</c:v>
                </c:pt>
                <c:pt idx="2859">
                  <c:v>-2.4834181719383258E-3</c:v>
                </c:pt>
                <c:pt idx="2860">
                  <c:v>-4.0259992421506369E-3</c:v>
                </c:pt>
                <c:pt idx="2861">
                  <c:v>-5.4953877639381116E-3</c:v>
                </c:pt>
                <c:pt idx="2862">
                  <c:v>-6.8016965283826704E-3</c:v>
                </c:pt>
                <c:pt idx="2863">
                  <c:v>-7.7004369353002372E-3</c:v>
                </c:pt>
                <c:pt idx="2864">
                  <c:v>-8.3132240847142852E-3</c:v>
                </c:pt>
                <c:pt idx="2865">
                  <c:v>-8.7345048078226288E-3</c:v>
                </c:pt>
                <c:pt idx="2866">
                  <c:v>-9.1273810101091986E-3</c:v>
                </c:pt>
                <c:pt idx="2867">
                  <c:v>-9.6251800957682758E-3</c:v>
                </c:pt>
                <c:pt idx="2868">
                  <c:v>-1.0049689176164004E-2</c:v>
                </c:pt>
                <c:pt idx="2869">
                  <c:v>-1.0956038112957731E-2</c:v>
                </c:pt>
                <c:pt idx="2870">
                  <c:v>-1.138370966989038E-2</c:v>
                </c:pt>
                <c:pt idx="2871">
                  <c:v>-1.1567584095658431E-2</c:v>
                </c:pt>
                <c:pt idx="2872">
                  <c:v>-1.1701462553507014E-2</c:v>
                </c:pt>
                <c:pt idx="2873">
                  <c:v>-1.1539797994098495E-2</c:v>
                </c:pt>
                <c:pt idx="2874">
                  <c:v>-1.1550824127028167E-2</c:v>
                </c:pt>
                <c:pt idx="2875">
                  <c:v>-1.1532944585711954E-2</c:v>
                </c:pt>
                <c:pt idx="2876">
                  <c:v>-1.1622794915715808E-2</c:v>
                </c:pt>
                <c:pt idx="2877">
                  <c:v>-1.179604340221437E-2</c:v>
                </c:pt>
                <c:pt idx="2878">
                  <c:v>-1.1887980209645278E-2</c:v>
                </c:pt>
                <c:pt idx="2879">
                  <c:v>-1.1735691096213164E-2</c:v>
                </c:pt>
                <c:pt idx="2880">
                  <c:v>-1.1582318248624069E-2</c:v>
                </c:pt>
                <c:pt idx="2881">
                  <c:v>-1.1309130750093157E-2</c:v>
                </c:pt>
                <c:pt idx="2882">
                  <c:v>-1.0660382019778522E-2</c:v>
                </c:pt>
                <c:pt idx="2883">
                  <c:v>-9.633436533186027E-3</c:v>
                </c:pt>
                <c:pt idx="2884">
                  <c:v>-7.234560733815714E-3</c:v>
                </c:pt>
                <c:pt idx="2885">
                  <c:v>-5.5889667965312428E-3</c:v>
                </c:pt>
                <c:pt idx="2886">
                  <c:v>-5.0766380371891386E-3</c:v>
                </c:pt>
                <c:pt idx="2887">
                  <c:v>-5.6956370290696815E-3</c:v>
                </c:pt>
                <c:pt idx="2888">
                  <c:v>-6.6704148713767107E-3</c:v>
                </c:pt>
                <c:pt idx="2889">
                  <c:v>-7.5205784333658172E-3</c:v>
                </c:pt>
                <c:pt idx="2890">
                  <c:v>-7.8699305190410331E-3</c:v>
                </c:pt>
                <c:pt idx="2891">
                  <c:v>-8.2646875747444896E-3</c:v>
                </c:pt>
                <c:pt idx="2892">
                  <c:v>-8.379753099240158E-3</c:v>
                </c:pt>
                <c:pt idx="2893">
                  <c:v>-8.6133105252470914E-3</c:v>
                </c:pt>
                <c:pt idx="2894">
                  <c:v>-8.7535070810846501E-3</c:v>
                </c:pt>
                <c:pt idx="2895">
                  <c:v>-8.8469933329224856E-3</c:v>
                </c:pt>
                <c:pt idx="2896">
                  <c:v>-8.5491577184406038E-3</c:v>
                </c:pt>
                <c:pt idx="2897">
                  <c:v>-7.8333554356533417E-3</c:v>
                </c:pt>
                <c:pt idx="2898">
                  <c:v>-7.0319449165692424E-3</c:v>
                </c:pt>
                <c:pt idx="2899">
                  <c:v>-6.2941507969052728E-3</c:v>
                </c:pt>
                <c:pt idx="2900">
                  <c:v>-5.8533587730573867E-3</c:v>
                </c:pt>
                <c:pt idx="2901">
                  <c:v>-5.6957481625402838E-3</c:v>
                </c:pt>
                <c:pt idx="2902">
                  <c:v>-5.6667484041476503E-3</c:v>
                </c:pt>
                <c:pt idx="2903">
                  <c:v>-5.8671203692949661E-3</c:v>
                </c:pt>
                <c:pt idx="2904">
                  <c:v>-6.0243912923343378E-3</c:v>
                </c:pt>
                <c:pt idx="2905">
                  <c:v>-6.2959479951339818E-3</c:v>
                </c:pt>
                <c:pt idx="2906">
                  <c:v>-6.428559019132845E-3</c:v>
                </c:pt>
                <c:pt idx="2907">
                  <c:v>-6.4376361960492151E-3</c:v>
                </c:pt>
                <c:pt idx="2908">
                  <c:v>-6.4489775725259674E-3</c:v>
                </c:pt>
                <c:pt idx="2909">
                  <c:v>-6.4847140177365266E-3</c:v>
                </c:pt>
                <c:pt idx="2910">
                  <c:v>-6.285694470149138E-3</c:v>
                </c:pt>
                <c:pt idx="2911">
                  <c:v>-5.6023556816661817E-3</c:v>
                </c:pt>
                <c:pt idx="2912">
                  <c:v>-4.9056186255270837E-3</c:v>
                </c:pt>
                <c:pt idx="2913">
                  <c:v>-4.0639634832202454E-3</c:v>
                </c:pt>
                <c:pt idx="2914">
                  <c:v>-4.1252390637073182E-3</c:v>
                </c:pt>
                <c:pt idx="2915">
                  <c:v>-4.6680565607065405E-3</c:v>
                </c:pt>
                <c:pt idx="2916">
                  <c:v>-5.4456757488556464E-3</c:v>
                </c:pt>
                <c:pt idx="2917">
                  <c:v>-5.404237055058124E-3</c:v>
                </c:pt>
                <c:pt idx="2918">
                  <c:v>-4.87902907965654E-3</c:v>
                </c:pt>
                <c:pt idx="2919">
                  <c:v>-4.8156271075625676E-3</c:v>
                </c:pt>
                <c:pt idx="2920">
                  <c:v>-5.3023026462786591E-3</c:v>
                </c:pt>
                <c:pt idx="2921">
                  <c:v>-5.4762951671263795E-3</c:v>
                </c:pt>
                <c:pt idx="2922">
                  <c:v>-5.6785236674508277E-3</c:v>
                </c:pt>
                <c:pt idx="2923">
                  <c:v>-5.4073878301215041E-3</c:v>
                </c:pt>
                <c:pt idx="2924">
                  <c:v>-5.093849753660209E-3</c:v>
                </c:pt>
                <c:pt idx="2925">
                  <c:v>-4.7772069696119385E-3</c:v>
                </c:pt>
                <c:pt idx="2926">
                  <c:v>-4.6737805134921704E-3</c:v>
                </c:pt>
                <c:pt idx="2927">
                  <c:v>-4.8640900927113149E-3</c:v>
                </c:pt>
                <c:pt idx="2928">
                  <c:v>-5.1060854416635883E-3</c:v>
                </c:pt>
                <c:pt idx="2929">
                  <c:v>-5.5415666067197642E-3</c:v>
                </c:pt>
                <c:pt idx="2930">
                  <c:v>-5.8421184087391166E-3</c:v>
                </c:pt>
                <c:pt idx="2931">
                  <c:v>-5.8248287060932817E-3</c:v>
                </c:pt>
                <c:pt idx="2932">
                  <c:v>-5.3625555701347031E-3</c:v>
                </c:pt>
                <c:pt idx="2933">
                  <c:v>-4.833732212283978E-3</c:v>
                </c:pt>
                <c:pt idx="2934">
                  <c:v>-4.3628190191054763E-3</c:v>
                </c:pt>
                <c:pt idx="2935">
                  <c:v>-4.1185398357688483E-3</c:v>
                </c:pt>
                <c:pt idx="2936">
                  <c:v>-4.1198791469546046E-3</c:v>
                </c:pt>
                <c:pt idx="2937">
                  <c:v>-4.4074450222023704E-3</c:v>
                </c:pt>
                <c:pt idx="2938">
                  <c:v>-4.584667723329789E-3</c:v>
                </c:pt>
                <c:pt idx="2939">
                  <c:v>-5.0521952320747672E-3</c:v>
                </c:pt>
                <c:pt idx="2940">
                  <c:v>-5.6044815016535118E-3</c:v>
                </c:pt>
                <c:pt idx="2941">
                  <c:v>-6.2327140941176619E-3</c:v>
                </c:pt>
                <c:pt idx="2942">
                  <c:v>-6.8534870071694769E-3</c:v>
                </c:pt>
                <c:pt idx="2943">
                  <c:v>-7.2387765585350972E-3</c:v>
                </c:pt>
                <c:pt idx="2944">
                  <c:v>-6.6905981235794139E-3</c:v>
                </c:pt>
                <c:pt idx="2945">
                  <c:v>-6.3977888771573222E-3</c:v>
                </c:pt>
                <c:pt idx="2946">
                  <c:v>-6.0670913323803317E-3</c:v>
                </c:pt>
                <c:pt idx="2947">
                  <c:v>-5.7630444839177515E-3</c:v>
                </c:pt>
                <c:pt idx="2948">
                  <c:v>-5.4998390561583604E-3</c:v>
                </c:pt>
                <c:pt idx="2949">
                  <c:v>-4.6156597506076362E-3</c:v>
                </c:pt>
                <c:pt idx="2950">
                  <c:v>-3.8283891508208564E-3</c:v>
                </c:pt>
                <c:pt idx="2951">
                  <c:v>-3.3952974169795813E-3</c:v>
                </c:pt>
                <c:pt idx="2952">
                  <c:v>-3.6996623739268845E-3</c:v>
                </c:pt>
                <c:pt idx="2953">
                  <c:v>-4.3024901871630264E-3</c:v>
                </c:pt>
                <c:pt idx="2954">
                  <c:v>-4.8193851881964843E-3</c:v>
                </c:pt>
                <c:pt idx="2955">
                  <c:v>-5.5379082639433865E-3</c:v>
                </c:pt>
                <c:pt idx="2956">
                  <c:v>-6.226998186191747E-3</c:v>
                </c:pt>
                <c:pt idx="2957">
                  <c:v>-6.6226583631641238E-3</c:v>
                </c:pt>
                <c:pt idx="2958">
                  <c:v>-6.7346108848915951E-3</c:v>
                </c:pt>
                <c:pt idx="2959">
                  <c:v>-6.7668060146313432E-3</c:v>
                </c:pt>
                <c:pt idx="2960">
                  <c:v>-6.9913163767718074E-3</c:v>
                </c:pt>
                <c:pt idx="2961">
                  <c:v>-7.2614623906144156E-3</c:v>
                </c:pt>
                <c:pt idx="2962">
                  <c:v>-7.6219480567106881E-3</c:v>
                </c:pt>
                <c:pt idx="2963">
                  <c:v>-8.0315039699764921E-3</c:v>
                </c:pt>
                <c:pt idx="2964">
                  <c:v>-8.2505960240870941E-3</c:v>
                </c:pt>
                <c:pt idx="2965">
                  <c:v>-8.4634993752416982E-3</c:v>
                </c:pt>
                <c:pt idx="2966">
                  <c:v>-8.7382779254513987E-3</c:v>
                </c:pt>
                <c:pt idx="2967">
                  <c:v>-7.5164474676299459E-3</c:v>
                </c:pt>
                <c:pt idx="2968">
                  <c:v>-6.50985551630439E-3</c:v>
                </c:pt>
                <c:pt idx="2969">
                  <c:v>-5.5792687212128187E-3</c:v>
                </c:pt>
                <c:pt idx="2970">
                  <c:v>-5.2063504956873976E-3</c:v>
                </c:pt>
                <c:pt idx="2971">
                  <c:v>-4.6573627715914799E-3</c:v>
                </c:pt>
                <c:pt idx="2972">
                  <c:v>-3.9158157105716532E-3</c:v>
                </c:pt>
                <c:pt idx="2973">
                  <c:v>-3.4707040136642275E-3</c:v>
                </c:pt>
                <c:pt idx="2974">
                  <c:v>-3.3784450844500918E-3</c:v>
                </c:pt>
                <c:pt idx="2975">
                  <c:v>-3.2691592488055549E-3</c:v>
                </c:pt>
                <c:pt idx="2976">
                  <c:v>-3.5335726640828673E-3</c:v>
                </c:pt>
                <c:pt idx="2977">
                  <c:v>-4.1062967217523373E-3</c:v>
                </c:pt>
                <c:pt idx="2978">
                  <c:v>-4.8269362330920374E-3</c:v>
                </c:pt>
                <c:pt idx="2979">
                  <c:v>-5.4861501708705473E-3</c:v>
                </c:pt>
                <c:pt idx="2980">
                  <c:v>-5.5828173463411419E-3</c:v>
                </c:pt>
                <c:pt idx="2981">
                  <c:v>-5.61799552998485E-3</c:v>
                </c:pt>
                <c:pt idx="2982">
                  <c:v>-5.4211385500510644E-3</c:v>
                </c:pt>
                <c:pt idx="2983">
                  <c:v>-5.1108200114598837E-3</c:v>
                </c:pt>
                <c:pt idx="2984">
                  <c:v>-4.8330827089486644E-3</c:v>
                </c:pt>
                <c:pt idx="2985">
                  <c:v>-4.4589420836663434E-3</c:v>
                </c:pt>
                <c:pt idx="2986">
                  <c:v>-4.2681093993823683E-3</c:v>
                </c:pt>
                <c:pt idx="2987">
                  <c:v>-4.2366456510387566E-3</c:v>
                </c:pt>
                <c:pt idx="2988">
                  <c:v>-4.5302242421179119E-3</c:v>
                </c:pt>
                <c:pt idx="2989">
                  <c:v>-4.8032020656067573E-3</c:v>
                </c:pt>
                <c:pt idx="2990">
                  <c:v>-4.9319637415896969E-3</c:v>
                </c:pt>
                <c:pt idx="2991">
                  <c:v>-5.0347859586535922E-3</c:v>
                </c:pt>
                <c:pt idx="2992">
                  <c:v>-4.6736167895613245E-3</c:v>
                </c:pt>
                <c:pt idx="2993">
                  <c:v>-4.7138067337829208E-3</c:v>
                </c:pt>
                <c:pt idx="2994">
                  <c:v>-4.7939204715512253E-3</c:v>
                </c:pt>
                <c:pt idx="2995">
                  <c:v>-4.7962652598845697E-3</c:v>
                </c:pt>
                <c:pt idx="2996">
                  <c:v>-4.3966300697728129E-3</c:v>
                </c:pt>
                <c:pt idx="2997">
                  <c:v>-4.9081163459474154E-3</c:v>
                </c:pt>
                <c:pt idx="2998">
                  <c:v>-5.5497207428035038E-3</c:v>
                </c:pt>
                <c:pt idx="2999">
                  <c:v>-6.029514966604645E-3</c:v>
                </c:pt>
                <c:pt idx="3000">
                  <c:v>-5.6334563647628608E-3</c:v>
                </c:pt>
                <c:pt idx="3001">
                  <c:v>-5.7355125994513444E-3</c:v>
                </c:pt>
                <c:pt idx="3002">
                  <c:v>-6.0413913004894182E-3</c:v>
                </c:pt>
                <c:pt idx="3003">
                  <c:v>-6.2466638891008081E-3</c:v>
                </c:pt>
                <c:pt idx="3004">
                  <c:v>-5.2355724133200908E-3</c:v>
                </c:pt>
                <c:pt idx="3005">
                  <c:v>-4.9217238571466152E-3</c:v>
                </c:pt>
                <c:pt idx="3006">
                  <c:v>-4.4487477242309646E-3</c:v>
                </c:pt>
                <c:pt idx="3007">
                  <c:v>-3.81049308898853E-3</c:v>
                </c:pt>
                <c:pt idx="3008">
                  <c:v>-2.6907984763188762E-3</c:v>
                </c:pt>
                <c:pt idx="3009">
                  <c:v>-1.3742389246337357E-3</c:v>
                </c:pt>
                <c:pt idx="3010">
                  <c:v>-2.3108226172141588E-4</c:v>
                </c:pt>
                <c:pt idx="3011">
                  <c:v>1.0613652751652967E-3</c:v>
                </c:pt>
                <c:pt idx="3012">
                  <c:v>2.1061683555156224E-3</c:v>
                </c:pt>
                <c:pt idx="3013">
                  <c:v>3.0294154488204111E-3</c:v>
                </c:pt>
                <c:pt idx="3014">
                  <c:v>3.5311338714758729E-3</c:v>
                </c:pt>
                <c:pt idx="3015">
                  <c:v>2.8608419526833257E-3</c:v>
                </c:pt>
                <c:pt idx="3016">
                  <c:v>1.7221359030817202E-3</c:v>
                </c:pt>
                <c:pt idx="3017">
                  <c:v>9.4665394497623311E-4</c:v>
                </c:pt>
                <c:pt idx="3018">
                  <c:v>1.0118001325044382E-3</c:v>
                </c:pt>
                <c:pt idx="3019">
                  <c:v>9.8775644640757086E-4</c:v>
                </c:pt>
                <c:pt idx="3020">
                  <c:v>9.7823287954354726E-4</c:v>
                </c:pt>
                <c:pt idx="3021">
                  <c:v>1.0225597240896694E-3</c:v>
                </c:pt>
                <c:pt idx="3022">
                  <c:v>7.1297509704121992E-4</c:v>
                </c:pt>
                <c:pt idx="3023">
                  <c:v>8.0950320622303219E-4</c:v>
                </c:pt>
                <c:pt idx="3024">
                  <c:v>9.160486661123346E-4</c:v>
                </c:pt>
                <c:pt idx="3025">
                  <c:v>9.5530162140654382E-4</c:v>
                </c:pt>
                <c:pt idx="3026">
                  <c:v>7.2561458853699894E-4</c:v>
                </c:pt>
                <c:pt idx="3027">
                  <c:v>3.2842835792969757E-4</c:v>
                </c:pt>
                <c:pt idx="3028">
                  <c:v>-3.2368084768646249E-4</c:v>
                </c:pt>
                <c:pt idx="3029">
                  <c:v>-1.4805138703535767E-3</c:v>
                </c:pt>
                <c:pt idx="3030">
                  <c:v>-3.1454615412845376E-3</c:v>
                </c:pt>
                <c:pt idx="3031">
                  <c:v>-4.4084861277715274E-3</c:v>
                </c:pt>
                <c:pt idx="3032">
                  <c:v>-4.4250140325305812E-3</c:v>
                </c:pt>
                <c:pt idx="3033">
                  <c:v>-4.4628265754371949E-3</c:v>
                </c:pt>
                <c:pt idx="3034">
                  <c:v>-5.9700744189177387E-3</c:v>
                </c:pt>
                <c:pt idx="3035">
                  <c:v>-6.404756769449493E-3</c:v>
                </c:pt>
                <c:pt idx="3036">
                  <c:v>-6.7641407474034283E-3</c:v>
                </c:pt>
                <c:pt idx="3037">
                  <c:v>-7.3011898225260243E-3</c:v>
                </c:pt>
                <c:pt idx="3038">
                  <c:v>-7.7795531791764643E-3</c:v>
                </c:pt>
                <c:pt idx="3039">
                  <c:v>-7.4786881550577104E-3</c:v>
                </c:pt>
                <c:pt idx="3040">
                  <c:v>-6.7001627909558416E-3</c:v>
                </c:pt>
                <c:pt idx="3041">
                  <c:v>-6.1187134648653507E-3</c:v>
                </c:pt>
                <c:pt idx="3042">
                  <c:v>-5.7437672210113398E-3</c:v>
                </c:pt>
                <c:pt idx="3043">
                  <c:v>-5.6873010949470117E-3</c:v>
                </c:pt>
                <c:pt idx="3044">
                  <c:v>-5.6844088629354516E-3</c:v>
                </c:pt>
                <c:pt idx="3045">
                  <c:v>-5.6134023295987372E-3</c:v>
                </c:pt>
                <c:pt idx="3046">
                  <c:v>-5.3946826559637742E-3</c:v>
                </c:pt>
                <c:pt idx="3047">
                  <c:v>-5.1268935232318957E-3</c:v>
                </c:pt>
                <c:pt idx="3048">
                  <c:v>-4.9904925544983552E-3</c:v>
                </c:pt>
                <c:pt idx="3049">
                  <c:v>-4.5538699229526157E-3</c:v>
                </c:pt>
                <c:pt idx="3050">
                  <c:v>-4.0731161425356906E-3</c:v>
                </c:pt>
                <c:pt idx="3051">
                  <c:v>-3.6451607691489977E-3</c:v>
                </c:pt>
                <c:pt idx="3052">
                  <c:v>-3.1653454447840212E-3</c:v>
                </c:pt>
                <c:pt idx="3053">
                  <c:v>-2.7335682893471647E-3</c:v>
                </c:pt>
                <c:pt idx="3054">
                  <c:v>-2.3545844591293854E-3</c:v>
                </c:pt>
                <c:pt idx="3055">
                  <c:v>-2.0629683401484867E-3</c:v>
                </c:pt>
                <c:pt idx="3056">
                  <c:v>-1.9975761898190121E-3</c:v>
                </c:pt>
                <c:pt idx="3057">
                  <c:v>-2.2357210931438602E-3</c:v>
                </c:pt>
                <c:pt idx="3058">
                  <c:v>-2.41258841933215E-3</c:v>
                </c:pt>
                <c:pt idx="3059">
                  <c:v>-2.4066541923024433E-3</c:v>
                </c:pt>
                <c:pt idx="3060">
                  <c:v>-2.2159452193466402E-3</c:v>
                </c:pt>
                <c:pt idx="3061">
                  <c:v>-2.1780956994110479E-3</c:v>
                </c:pt>
                <c:pt idx="3062">
                  <c:v>-2.3367233978929848E-3</c:v>
                </c:pt>
                <c:pt idx="3063">
                  <c:v>-2.771788521919687E-3</c:v>
                </c:pt>
                <c:pt idx="3064">
                  <c:v>-3.0700818074524249E-3</c:v>
                </c:pt>
                <c:pt idx="3065">
                  <c:v>-3.2675532915248436E-3</c:v>
                </c:pt>
                <c:pt idx="3066">
                  <c:v>-3.5581552163117813E-3</c:v>
                </c:pt>
                <c:pt idx="3067">
                  <c:v>-3.8253948913151469E-3</c:v>
                </c:pt>
                <c:pt idx="3068">
                  <c:v>-4.0472565562844863E-3</c:v>
                </c:pt>
                <c:pt idx="3069">
                  <c:v>-4.8830984509046277E-3</c:v>
                </c:pt>
                <c:pt idx="3070">
                  <c:v>-5.8431165785960779E-3</c:v>
                </c:pt>
                <c:pt idx="3071">
                  <c:v>-6.9671122515176558E-3</c:v>
                </c:pt>
                <c:pt idx="3072">
                  <c:v>-7.8311860396997977E-3</c:v>
                </c:pt>
                <c:pt idx="3073">
                  <c:v>-8.7441197822160921E-3</c:v>
                </c:pt>
                <c:pt idx="3074">
                  <c:v>-9.489233997002534E-3</c:v>
                </c:pt>
                <c:pt idx="3075">
                  <c:v>-1.0092718863496187E-2</c:v>
                </c:pt>
                <c:pt idx="3076">
                  <c:v>-1.0345072959893505E-2</c:v>
                </c:pt>
                <c:pt idx="3077">
                  <c:v>-1.0546307938578681E-2</c:v>
                </c:pt>
                <c:pt idx="3078">
                  <c:v>-1.0625509077576808E-2</c:v>
                </c:pt>
                <c:pt idx="3079">
                  <c:v>-1.0528270247439938E-2</c:v>
                </c:pt>
                <c:pt idx="3080">
                  <c:v>-1.0246888136436073E-2</c:v>
                </c:pt>
                <c:pt idx="3081">
                  <c:v>-9.8495324108364372E-3</c:v>
                </c:pt>
                <c:pt idx="3082">
                  <c:v>-9.4513186424679471E-3</c:v>
                </c:pt>
                <c:pt idx="3083">
                  <c:v>-9.2322551671160883E-3</c:v>
                </c:pt>
                <c:pt idx="3084">
                  <c:v>-9.0423224396908274E-3</c:v>
                </c:pt>
                <c:pt idx="3085">
                  <c:v>-8.6321468873826763E-3</c:v>
                </c:pt>
                <c:pt idx="3086">
                  <c:v>-7.8174360315744242E-3</c:v>
                </c:pt>
                <c:pt idx="3087">
                  <c:v>-6.6118522066794198E-3</c:v>
                </c:pt>
                <c:pt idx="3088">
                  <c:v>-5.1268561081043683E-3</c:v>
                </c:pt>
                <c:pt idx="3089">
                  <c:v>-3.977988455024702E-3</c:v>
                </c:pt>
                <c:pt idx="3090">
                  <c:v>-3.5612510112658334E-3</c:v>
                </c:pt>
                <c:pt idx="3091">
                  <c:v>-3.5196091961231437E-3</c:v>
                </c:pt>
                <c:pt idx="3092">
                  <c:v>-3.4925584554593367E-3</c:v>
                </c:pt>
                <c:pt idx="3093">
                  <c:v>-3.4290293070476799E-3</c:v>
                </c:pt>
                <c:pt idx="3094">
                  <c:v>-3.4415317215317105E-3</c:v>
                </c:pt>
                <c:pt idx="3095">
                  <c:v>-3.4274251088675265E-3</c:v>
                </c:pt>
                <c:pt idx="3096">
                  <c:v>-3.4978578633285146E-3</c:v>
                </c:pt>
                <c:pt idx="3097">
                  <c:v>-3.4667206152990552E-3</c:v>
                </c:pt>
                <c:pt idx="3098">
                  <c:v>-3.5487396466425325E-3</c:v>
                </c:pt>
                <c:pt idx="3099">
                  <c:v>-3.6831791019773675E-3</c:v>
                </c:pt>
                <c:pt idx="3100">
                  <c:v>-4.0614141504815094E-3</c:v>
                </c:pt>
                <c:pt idx="3101">
                  <c:v>-3.6420551669549429E-3</c:v>
                </c:pt>
                <c:pt idx="3102">
                  <c:v>-3.2786858639435052E-3</c:v>
                </c:pt>
                <c:pt idx="3103">
                  <c:v>-3.2324191135757315E-3</c:v>
                </c:pt>
                <c:pt idx="3104">
                  <c:v>-3.7429507547080227E-3</c:v>
                </c:pt>
                <c:pt idx="3105">
                  <c:v>-4.5508187979525971E-3</c:v>
                </c:pt>
                <c:pt idx="3106">
                  <c:v>-4.6901945065094611E-3</c:v>
                </c:pt>
                <c:pt idx="3107">
                  <c:v>-5.1379962898851286E-3</c:v>
                </c:pt>
                <c:pt idx="3108">
                  <c:v>-5.4777588421616235E-3</c:v>
                </c:pt>
                <c:pt idx="3109">
                  <c:v>-5.7814571847146388E-3</c:v>
                </c:pt>
                <c:pt idx="3110">
                  <c:v>-5.9186997543250993E-3</c:v>
                </c:pt>
                <c:pt idx="3111">
                  <c:v>-5.9487619571341743E-3</c:v>
                </c:pt>
                <c:pt idx="3112">
                  <c:v>-6.0971646436401641E-3</c:v>
                </c:pt>
                <c:pt idx="3113">
                  <c:v>-6.3240118413426362E-3</c:v>
                </c:pt>
                <c:pt idx="3114">
                  <c:v>-6.5562345002684302E-3</c:v>
                </c:pt>
                <c:pt idx="3115">
                  <c:v>-6.7276313558121649E-3</c:v>
                </c:pt>
                <c:pt idx="3116">
                  <c:v>-6.8641463285827259E-3</c:v>
                </c:pt>
                <c:pt idx="3117">
                  <c:v>-7.0175217623130622E-3</c:v>
                </c:pt>
                <c:pt idx="3118">
                  <c:v>-7.2774694995772007E-3</c:v>
                </c:pt>
                <c:pt idx="3119">
                  <c:v>-7.4247045038184859E-3</c:v>
                </c:pt>
                <c:pt idx="3120">
                  <c:v>-7.4949863784341377E-3</c:v>
                </c:pt>
                <c:pt idx="3121">
                  <c:v>-7.4703191215706845E-3</c:v>
                </c:pt>
                <c:pt idx="3122">
                  <c:v>-7.5233203263684817E-3</c:v>
                </c:pt>
                <c:pt idx="3123">
                  <c:v>-7.6220056467442869E-3</c:v>
                </c:pt>
                <c:pt idx="3124">
                  <c:v>-7.5948786857281151E-3</c:v>
                </c:pt>
                <c:pt idx="3125">
                  <c:v>-7.58667707282533E-3</c:v>
                </c:pt>
                <c:pt idx="3126">
                  <c:v>-7.5301311716318908E-3</c:v>
                </c:pt>
                <c:pt idx="3127">
                  <c:v>-7.7918578288378258E-3</c:v>
                </c:pt>
                <c:pt idx="3128">
                  <c:v>-8.1104414687033586E-3</c:v>
                </c:pt>
                <c:pt idx="3129">
                  <c:v>-8.4108098178376882E-3</c:v>
                </c:pt>
                <c:pt idx="3130">
                  <c:v>-8.4739329194880794E-3</c:v>
                </c:pt>
                <c:pt idx="3131">
                  <c:v>-8.9719767631577067E-3</c:v>
                </c:pt>
                <c:pt idx="3132">
                  <c:v>-9.6125020178566209E-3</c:v>
                </c:pt>
                <c:pt idx="3133">
                  <c:v>-1.0212737607494974E-2</c:v>
                </c:pt>
                <c:pt idx="3134">
                  <c:v>-1.0411369159465351E-2</c:v>
                </c:pt>
                <c:pt idx="3135">
                  <c:v>-1.029061875232987E-2</c:v>
                </c:pt>
                <c:pt idx="3136">
                  <c:v>-1.0345935688477236E-2</c:v>
                </c:pt>
                <c:pt idx="3137">
                  <c:v>-9.7581134746565559E-3</c:v>
                </c:pt>
                <c:pt idx="3138">
                  <c:v>-9.8493671131489515E-3</c:v>
                </c:pt>
                <c:pt idx="3139">
                  <c:v>-9.9549662646797182E-3</c:v>
                </c:pt>
                <c:pt idx="3140">
                  <c:v>-1.0195756551287419E-2</c:v>
                </c:pt>
                <c:pt idx="3141">
                  <c:v>-1.0305594074943487E-2</c:v>
                </c:pt>
                <c:pt idx="3142">
                  <c:v>-9.949488246926156E-3</c:v>
                </c:pt>
                <c:pt idx="3143">
                  <c:v>-9.1087472140018427E-3</c:v>
                </c:pt>
                <c:pt idx="3144">
                  <c:v>-8.823780289520522E-3</c:v>
                </c:pt>
                <c:pt idx="3145">
                  <c:v>-8.7865142919096549E-3</c:v>
                </c:pt>
                <c:pt idx="3146">
                  <c:v>-8.8317725947835782E-3</c:v>
                </c:pt>
                <c:pt idx="3147">
                  <c:v>-8.6311197362052769E-3</c:v>
                </c:pt>
                <c:pt idx="3148">
                  <c:v>-8.5095706907158779E-3</c:v>
                </c:pt>
                <c:pt idx="3149">
                  <c:v>-8.2359961835258427E-3</c:v>
                </c:pt>
                <c:pt idx="3150">
                  <c:v>-7.9111931981643083E-3</c:v>
                </c:pt>
                <c:pt idx="3151">
                  <c:v>-7.5533574511315827E-3</c:v>
                </c:pt>
                <c:pt idx="3152">
                  <c:v>-7.246519884365356E-3</c:v>
                </c:pt>
                <c:pt idx="3153">
                  <c:v>-7.0048086467457624E-3</c:v>
                </c:pt>
                <c:pt idx="3154">
                  <c:v>-6.7161823805447565E-3</c:v>
                </c:pt>
                <c:pt idx="3155">
                  <c:v>-6.4917163647950247E-3</c:v>
                </c:pt>
                <c:pt idx="3156">
                  <c:v>-6.3293954671873711E-3</c:v>
                </c:pt>
                <c:pt idx="3157">
                  <c:v>-5.8944548011862141E-3</c:v>
                </c:pt>
                <c:pt idx="3158">
                  <c:v>-5.5309521081688511E-3</c:v>
                </c:pt>
                <c:pt idx="3159">
                  <c:v>-5.1618013210617906E-3</c:v>
                </c:pt>
                <c:pt idx="3160">
                  <c:v>-5.3822672753216991E-3</c:v>
                </c:pt>
                <c:pt idx="3161">
                  <c:v>-5.7554248916718998E-3</c:v>
                </c:pt>
                <c:pt idx="3162">
                  <c:v>-6.0895235999182838E-3</c:v>
                </c:pt>
                <c:pt idx="3163">
                  <c:v>-6.2954877808069068E-3</c:v>
                </c:pt>
                <c:pt idx="3164">
                  <c:v>-6.5387130935467136E-3</c:v>
                </c:pt>
                <c:pt idx="3165">
                  <c:v>-6.6737801037951901E-3</c:v>
                </c:pt>
                <c:pt idx="3166">
                  <c:v>-6.6991390294759146E-3</c:v>
                </c:pt>
                <c:pt idx="3167">
                  <c:v>-6.8290023906238742E-3</c:v>
                </c:pt>
                <c:pt idx="3168">
                  <c:v>-6.6823824038378856E-3</c:v>
                </c:pt>
                <c:pt idx="3169">
                  <c:v>-6.5664551110147032E-3</c:v>
                </c:pt>
                <c:pt idx="3170">
                  <c:v>-6.4627306011426642E-3</c:v>
                </c:pt>
                <c:pt idx="3171">
                  <c:v>-6.5069056818676078E-3</c:v>
                </c:pt>
                <c:pt idx="3172">
                  <c:v>-7.1556303059803024E-3</c:v>
                </c:pt>
                <c:pt idx="3173">
                  <c:v>-8.5379717520251402E-3</c:v>
                </c:pt>
                <c:pt idx="3174">
                  <c:v>-9.1594234764537322E-3</c:v>
                </c:pt>
                <c:pt idx="3175">
                  <c:v>-9.6921293518002702E-3</c:v>
                </c:pt>
                <c:pt idx="3176">
                  <c:v>-9.8948635239034174E-3</c:v>
                </c:pt>
                <c:pt idx="3177">
                  <c:v>-8.8518347446910062E-3</c:v>
                </c:pt>
                <c:pt idx="3178">
                  <c:v>-9.0718038429825291E-3</c:v>
                </c:pt>
                <c:pt idx="3179">
                  <c:v>-9.4297932115940918E-3</c:v>
                </c:pt>
                <c:pt idx="3180">
                  <c:v>-8.9924395900662906E-3</c:v>
                </c:pt>
                <c:pt idx="3181">
                  <c:v>-7.7786738798721316E-3</c:v>
                </c:pt>
                <c:pt idx="3182">
                  <c:v>-6.8905545262554265E-3</c:v>
                </c:pt>
                <c:pt idx="3183">
                  <c:v>-6.2217050875483047E-3</c:v>
                </c:pt>
                <c:pt idx="3184">
                  <c:v>-5.85651108368838E-3</c:v>
                </c:pt>
                <c:pt idx="3185">
                  <c:v>-5.7534541327987883E-3</c:v>
                </c:pt>
                <c:pt idx="3186">
                  <c:v>-6.0703759298671809E-3</c:v>
                </c:pt>
                <c:pt idx="3187">
                  <c:v>-6.3007535461010664E-3</c:v>
                </c:pt>
                <c:pt idx="3188">
                  <c:v>-6.3234290033620418E-3</c:v>
                </c:pt>
                <c:pt idx="3189">
                  <c:v>-6.143432904557232E-3</c:v>
                </c:pt>
                <c:pt idx="3190">
                  <c:v>-5.6058381467038575E-3</c:v>
                </c:pt>
                <c:pt idx="3191">
                  <c:v>-4.9338755137846302E-3</c:v>
                </c:pt>
                <c:pt idx="3192">
                  <c:v>-4.2780670851993649E-3</c:v>
                </c:pt>
                <c:pt idx="3193">
                  <c:v>-3.7801775575952087E-3</c:v>
                </c:pt>
                <c:pt idx="3194">
                  <c:v>-3.3596884405012357E-3</c:v>
                </c:pt>
                <c:pt idx="3195">
                  <c:v>-3.0903042900288571E-3</c:v>
                </c:pt>
                <c:pt idx="3196">
                  <c:v>-2.8863236713664395E-3</c:v>
                </c:pt>
                <c:pt idx="3197">
                  <c:v>-2.9436766362619087E-3</c:v>
                </c:pt>
                <c:pt idx="3198">
                  <c:v>-2.9501031675418701E-3</c:v>
                </c:pt>
                <c:pt idx="3199">
                  <c:v>-2.9848755119393656E-3</c:v>
                </c:pt>
                <c:pt idx="3200">
                  <c:v>-3.0425239466061547E-3</c:v>
                </c:pt>
                <c:pt idx="3201">
                  <c:v>-3.1307108042215592E-3</c:v>
                </c:pt>
                <c:pt idx="3202">
                  <c:v>-3.5151543068253632E-3</c:v>
                </c:pt>
                <c:pt idx="3203">
                  <c:v>-3.8913066274358001E-3</c:v>
                </c:pt>
                <c:pt idx="3204">
                  <c:v>-4.1885656583453886E-3</c:v>
                </c:pt>
                <c:pt idx="3205">
                  <c:v>-4.0142816045860615E-3</c:v>
                </c:pt>
                <c:pt idx="3206">
                  <c:v>-3.6591326151360626E-3</c:v>
                </c:pt>
                <c:pt idx="3207">
                  <c:v>-3.3910826263228375E-3</c:v>
                </c:pt>
                <c:pt idx="3208">
                  <c:v>-2.4289809671301735E-3</c:v>
                </c:pt>
                <c:pt idx="3209">
                  <c:v>-1.498637786392587E-3</c:v>
                </c:pt>
                <c:pt idx="3210">
                  <c:v>-1.1008843473410447E-3</c:v>
                </c:pt>
                <c:pt idx="3211">
                  <c:v>-1.8289584447532242E-3</c:v>
                </c:pt>
                <c:pt idx="3212">
                  <c:v>-2.908985097676375E-3</c:v>
                </c:pt>
                <c:pt idx="3213">
                  <c:v>-4.2053949125857417E-3</c:v>
                </c:pt>
                <c:pt idx="3214">
                  <c:v>-5.3419637383449597E-3</c:v>
                </c:pt>
                <c:pt idx="3215">
                  <c:v>-6.2382673423691864E-3</c:v>
                </c:pt>
                <c:pt idx="3216">
                  <c:v>-5.4754217786522966E-3</c:v>
                </c:pt>
                <c:pt idx="3217">
                  <c:v>-4.0662300192169289E-3</c:v>
                </c:pt>
                <c:pt idx="3218">
                  <c:v>-3.3360027508855788E-3</c:v>
                </c:pt>
                <c:pt idx="3219">
                  <c:v>-3.0664212244296638E-3</c:v>
                </c:pt>
                <c:pt idx="3220">
                  <c:v>-2.0943666253831327E-3</c:v>
                </c:pt>
                <c:pt idx="3221">
                  <c:v>-2.2236676972480721E-3</c:v>
                </c:pt>
                <c:pt idx="3222">
                  <c:v>-2.37583003426871E-3</c:v>
                </c:pt>
                <c:pt idx="3223">
                  <c:v>-2.3679265778668145E-3</c:v>
                </c:pt>
                <c:pt idx="3224">
                  <c:v>-2.2845154040881926E-3</c:v>
                </c:pt>
                <c:pt idx="3225">
                  <c:v>-2.2200259809715996E-3</c:v>
                </c:pt>
                <c:pt idx="3226">
                  <c:v>-2.2764525634364329E-3</c:v>
                </c:pt>
                <c:pt idx="3227">
                  <c:v>-2.857165481293205E-3</c:v>
                </c:pt>
                <c:pt idx="3228">
                  <c:v>-3.6952283436991699E-3</c:v>
                </c:pt>
                <c:pt idx="3229">
                  <c:v>-4.4897738207487544E-3</c:v>
                </c:pt>
                <c:pt idx="3230">
                  <c:v>-4.082682344940353E-3</c:v>
                </c:pt>
                <c:pt idx="3231">
                  <c:v>-4.6937320074886442E-3</c:v>
                </c:pt>
                <c:pt idx="3232">
                  <c:v>-4.9927940238372274E-3</c:v>
                </c:pt>
                <c:pt idx="3233">
                  <c:v>-5.344181730831267E-3</c:v>
                </c:pt>
                <c:pt idx="3234">
                  <c:v>-5.574091529891724E-3</c:v>
                </c:pt>
                <c:pt idx="3235">
                  <c:v>-5.6949429409852113E-3</c:v>
                </c:pt>
                <c:pt idx="3236">
                  <c:v>-5.6239618087880732E-3</c:v>
                </c:pt>
                <c:pt idx="3237">
                  <c:v>-5.4918759042996007E-3</c:v>
                </c:pt>
                <c:pt idx="3238">
                  <c:v>-5.5989900227860559E-3</c:v>
                </c:pt>
                <c:pt idx="3239">
                  <c:v>-5.7349237862489161E-3</c:v>
                </c:pt>
                <c:pt idx="3240">
                  <c:v>-5.7351083602958808E-3</c:v>
                </c:pt>
                <c:pt idx="3241">
                  <c:v>-5.5651603633060341E-3</c:v>
                </c:pt>
                <c:pt idx="3242">
                  <c:v>-5.6553902925935654E-3</c:v>
                </c:pt>
                <c:pt idx="3243">
                  <c:v>-5.7473332887371161E-3</c:v>
                </c:pt>
                <c:pt idx="3244">
                  <c:v>-5.2004083976203534E-3</c:v>
                </c:pt>
                <c:pt idx="3245">
                  <c:v>-4.3077734394066283E-3</c:v>
                </c:pt>
                <c:pt idx="3246">
                  <c:v>-3.62062321016377E-3</c:v>
                </c:pt>
                <c:pt idx="3247">
                  <c:v>-3.2948736201484467E-3</c:v>
                </c:pt>
                <c:pt idx="3248">
                  <c:v>-2.8162534407757227E-3</c:v>
                </c:pt>
                <c:pt idx="3249">
                  <c:v>-2.6057985877970188E-3</c:v>
                </c:pt>
                <c:pt idx="3250">
                  <c:v>-2.5366581731533968E-3</c:v>
                </c:pt>
                <c:pt idx="3251">
                  <c:v>-2.1018143864431956E-3</c:v>
                </c:pt>
                <c:pt idx="3252">
                  <c:v>-1.6339321099241803E-3</c:v>
                </c:pt>
                <c:pt idx="3253">
                  <c:v>-1.3032021056015169E-3</c:v>
                </c:pt>
                <c:pt idx="3254">
                  <c:v>-1.1407168351625918E-3</c:v>
                </c:pt>
                <c:pt idx="3255">
                  <c:v>-1.0105204669240055E-3</c:v>
                </c:pt>
                <c:pt idx="3256">
                  <c:v>-1.0164254215888398E-3</c:v>
                </c:pt>
                <c:pt idx="3257">
                  <c:v>-1.0814624574213057E-3</c:v>
                </c:pt>
                <c:pt idx="3258">
                  <c:v>-1.0707418654911059E-3</c:v>
                </c:pt>
                <c:pt idx="3259">
                  <c:v>-1.1181256078040443E-3</c:v>
                </c:pt>
                <c:pt idx="3260">
                  <c:v>-1.2840746707836748E-3</c:v>
                </c:pt>
                <c:pt idx="3261">
                  <c:v>-1.209103132597979E-3</c:v>
                </c:pt>
                <c:pt idx="3262">
                  <c:v>-1.5873223335597687E-3</c:v>
                </c:pt>
                <c:pt idx="3263">
                  <c:v>-2.0666168169445626E-3</c:v>
                </c:pt>
                <c:pt idx="3264">
                  <c:v>-8.1246377111831962E-4</c:v>
                </c:pt>
                <c:pt idx="3265">
                  <c:v>-1.3165807772129445E-5</c:v>
                </c:pt>
                <c:pt idx="3266">
                  <c:v>5.8387740229206946E-4</c:v>
                </c:pt>
                <c:pt idx="3267">
                  <c:v>9.0890540096081121E-4</c:v>
                </c:pt>
                <c:pt idx="3268">
                  <c:v>1.2268727264534707E-3</c:v>
                </c:pt>
                <c:pt idx="3269">
                  <c:v>1.3660847708294489E-3</c:v>
                </c:pt>
                <c:pt idx="3270">
                  <c:v>1.4209253726692773E-3</c:v>
                </c:pt>
                <c:pt idx="3271">
                  <c:v>1.7188114089005807E-3</c:v>
                </c:pt>
                <c:pt idx="3272">
                  <c:v>2.8944600405925933E-3</c:v>
                </c:pt>
                <c:pt idx="3273">
                  <c:v>4.2551436071502115E-3</c:v>
                </c:pt>
                <c:pt idx="3274">
                  <c:v>5.6327621049562784E-3</c:v>
                </c:pt>
                <c:pt idx="3275">
                  <c:v>5.9374265101852699E-3</c:v>
                </c:pt>
                <c:pt idx="3276">
                  <c:v>4.7302999102955857E-3</c:v>
                </c:pt>
                <c:pt idx="3277">
                  <c:v>3.2148552452955156E-3</c:v>
                </c:pt>
                <c:pt idx="3278">
                  <c:v>7.2777964213283086E-4</c:v>
                </c:pt>
                <c:pt idx="3279">
                  <c:v>-1.4103181223221184E-3</c:v>
                </c:pt>
                <c:pt idx="3280">
                  <c:v>-1.8897510602985026E-3</c:v>
                </c:pt>
                <c:pt idx="3281">
                  <c:v>-1.8664285738152105E-3</c:v>
                </c:pt>
                <c:pt idx="3282">
                  <c:v>-1.5267981723401883E-3</c:v>
                </c:pt>
                <c:pt idx="3283">
                  <c:v>-1.4018901490742749E-3</c:v>
                </c:pt>
                <c:pt idx="3284">
                  <c:v>-1.1356068223043921E-3</c:v>
                </c:pt>
                <c:pt idx="3285">
                  <c:v>-8.9856827133965103E-4</c:v>
                </c:pt>
                <c:pt idx="3286">
                  <c:v>-7.7882604401477602E-4</c:v>
                </c:pt>
                <c:pt idx="3287">
                  <c:v>-3.4588622087897668E-4</c:v>
                </c:pt>
                <c:pt idx="3288">
                  <c:v>-3.3994814353146066E-4</c:v>
                </c:pt>
                <c:pt idx="3289">
                  <c:v>-4.9398086265557868E-4</c:v>
                </c:pt>
                <c:pt idx="3290">
                  <c:v>-6.7902194995082647E-4</c:v>
                </c:pt>
                <c:pt idx="3291">
                  <c:v>-6.6033393383536747E-4</c:v>
                </c:pt>
                <c:pt idx="3292">
                  <c:v>-2.2257275132041635E-4</c:v>
                </c:pt>
                <c:pt idx="3293">
                  <c:v>4.3601854717087787E-4</c:v>
                </c:pt>
                <c:pt idx="3294">
                  <c:v>-1.3757923426031306E-4</c:v>
                </c:pt>
                <c:pt idx="3295">
                  <c:v>-6.2668802831139254E-4</c:v>
                </c:pt>
                <c:pt idx="3296">
                  <c:v>-1.1589637365764507E-3</c:v>
                </c:pt>
                <c:pt idx="3297">
                  <c:v>-1.5131584907567925E-3</c:v>
                </c:pt>
                <c:pt idx="3298">
                  <c:v>-1.9124993676759737E-3</c:v>
                </c:pt>
                <c:pt idx="3299">
                  <c:v>-2.1336354878904711E-3</c:v>
                </c:pt>
                <c:pt idx="3300">
                  <c:v>-2.1577558410608086E-3</c:v>
                </c:pt>
                <c:pt idx="3301">
                  <c:v>-2.1287503505151911E-3</c:v>
                </c:pt>
                <c:pt idx="3302">
                  <c:v>-1.9184701183524956E-3</c:v>
                </c:pt>
                <c:pt idx="3303">
                  <c:v>-1.6094359929345325E-3</c:v>
                </c:pt>
                <c:pt idx="3304">
                  <c:v>-1.0290195398550096E-3</c:v>
                </c:pt>
                <c:pt idx="3305">
                  <c:v>-6.0424186362622277E-4</c:v>
                </c:pt>
                <c:pt idx="3306">
                  <c:v>-1.2267283873007278E-3</c:v>
                </c:pt>
                <c:pt idx="3307">
                  <c:v>-1.8167643609277861E-3</c:v>
                </c:pt>
                <c:pt idx="3308">
                  <c:v>-1.8224353755470265E-3</c:v>
                </c:pt>
                <c:pt idx="3309">
                  <c:v>-1.6792867828858476E-3</c:v>
                </c:pt>
                <c:pt idx="3310">
                  <c:v>-1.6993227707665622E-3</c:v>
                </c:pt>
                <c:pt idx="3311">
                  <c:v>-1.6737646497286419E-3</c:v>
                </c:pt>
                <c:pt idx="3312">
                  <c:v>-1.7586805095362295E-3</c:v>
                </c:pt>
                <c:pt idx="3313">
                  <c:v>-1.8020232076167327E-3</c:v>
                </c:pt>
                <c:pt idx="3314">
                  <c:v>-2.0289891884809029E-3</c:v>
                </c:pt>
                <c:pt idx="3315">
                  <c:v>-2.47934921185659E-3</c:v>
                </c:pt>
                <c:pt idx="3316">
                  <c:v>-3.2015631241276502E-3</c:v>
                </c:pt>
                <c:pt idx="3317">
                  <c:v>-4.550297432831139E-3</c:v>
                </c:pt>
                <c:pt idx="3318">
                  <c:v>-5.4597902250371451E-3</c:v>
                </c:pt>
                <c:pt idx="3319">
                  <c:v>-5.907737352916765E-3</c:v>
                </c:pt>
                <c:pt idx="3320">
                  <c:v>-6.2088779741109731E-3</c:v>
                </c:pt>
                <c:pt idx="3321">
                  <c:v>-6.4021341874215812E-3</c:v>
                </c:pt>
                <c:pt idx="3322">
                  <c:v>-6.997631812250534E-3</c:v>
                </c:pt>
                <c:pt idx="3323">
                  <c:v>-7.4102075082663312E-3</c:v>
                </c:pt>
                <c:pt idx="3324">
                  <c:v>-7.6779095814242899E-3</c:v>
                </c:pt>
                <c:pt idx="3325">
                  <c:v>-7.9056095308806529E-3</c:v>
                </c:pt>
                <c:pt idx="3326">
                  <c:v>-8.0061089759924271E-3</c:v>
                </c:pt>
                <c:pt idx="3327">
                  <c:v>-7.9145375299922056E-3</c:v>
                </c:pt>
                <c:pt idx="3328">
                  <c:v>-7.8549126724215806E-3</c:v>
                </c:pt>
                <c:pt idx="3329">
                  <c:v>-7.8787842055939774E-3</c:v>
                </c:pt>
                <c:pt idx="3330">
                  <c:v>-7.9205044897975429E-3</c:v>
                </c:pt>
                <c:pt idx="3331">
                  <c:v>-8.1070088438639429E-3</c:v>
                </c:pt>
                <c:pt idx="3332">
                  <c:v>-8.7292711672223855E-3</c:v>
                </c:pt>
                <c:pt idx="3333">
                  <c:v>-9.3862742272154583E-3</c:v>
                </c:pt>
                <c:pt idx="3334">
                  <c:v>-1.0294241709662741E-2</c:v>
                </c:pt>
                <c:pt idx="3335">
                  <c:v>-1.1226740358347774E-2</c:v>
                </c:pt>
                <c:pt idx="3336">
                  <c:v>-1.1125991645529153E-2</c:v>
                </c:pt>
                <c:pt idx="3337">
                  <c:v>-1.0858125002369233E-2</c:v>
                </c:pt>
                <c:pt idx="3338">
                  <c:v>-1.0658671034669045E-2</c:v>
                </c:pt>
                <c:pt idx="3339">
                  <c:v>-1.0397012073187425E-2</c:v>
                </c:pt>
                <c:pt idx="3340">
                  <c:v>-1.0035778131556882E-2</c:v>
                </c:pt>
                <c:pt idx="3341">
                  <c:v>-1.016095758001874E-2</c:v>
                </c:pt>
                <c:pt idx="3342">
                  <c:v>-1.0249088376634945E-2</c:v>
                </c:pt>
                <c:pt idx="3343">
                  <c:v>-1.0438754362007727E-2</c:v>
                </c:pt>
                <c:pt idx="3344">
                  <c:v>-1.0549752063973253E-2</c:v>
                </c:pt>
                <c:pt idx="3345">
                  <c:v>-1.0514133961811157E-2</c:v>
                </c:pt>
                <c:pt idx="3346">
                  <c:v>-1.0443870135785221E-2</c:v>
                </c:pt>
                <c:pt idx="3347">
                  <c:v>-1.0197859141733469E-2</c:v>
                </c:pt>
                <c:pt idx="3348">
                  <c:v>-1.0006975731160831E-2</c:v>
                </c:pt>
                <c:pt idx="3349">
                  <c:v>-9.8621958649840642E-3</c:v>
                </c:pt>
                <c:pt idx="3350">
                  <c:v>-9.7336155082849447E-3</c:v>
                </c:pt>
                <c:pt idx="3351">
                  <c:v>-9.9825561775867752E-3</c:v>
                </c:pt>
                <c:pt idx="3352">
                  <c:v>-1.0169766040579894E-2</c:v>
                </c:pt>
                <c:pt idx="3353">
                  <c:v>-1.0085558146628881E-2</c:v>
                </c:pt>
                <c:pt idx="3354">
                  <c:v>-9.7492728570840858E-3</c:v>
                </c:pt>
                <c:pt idx="3355">
                  <c:v>-9.4108552116800095E-3</c:v>
                </c:pt>
                <c:pt idx="3356">
                  <c:v>-9.202415504496634E-3</c:v>
                </c:pt>
                <c:pt idx="3357">
                  <c:v>-9.5075840718335993E-3</c:v>
                </c:pt>
                <c:pt idx="3358">
                  <c:v>-9.8052774784355215E-3</c:v>
                </c:pt>
                <c:pt idx="3359">
                  <c:v>-1.0141150663816568E-2</c:v>
                </c:pt>
                <c:pt idx="3360">
                  <c:v>-1.0250993883260702E-2</c:v>
                </c:pt>
                <c:pt idx="3361">
                  <c:v>-9.9216143121004102E-3</c:v>
                </c:pt>
                <c:pt idx="3362">
                  <c:v>-9.2738860455978886E-3</c:v>
                </c:pt>
                <c:pt idx="3363">
                  <c:v>-8.6620239008352723E-3</c:v>
                </c:pt>
                <c:pt idx="3364">
                  <c:v>-8.2287960767263094E-3</c:v>
                </c:pt>
                <c:pt idx="3365">
                  <c:v>-8.5110500662112024E-3</c:v>
                </c:pt>
                <c:pt idx="3366">
                  <c:v>-8.7346370474047832E-3</c:v>
                </c:pt>
                <c:pt idx="3367">
                  <c:v>-8.9245664918072946E-3</c:v>
                </c:pt>
                <c:pt idx="3368">
                  <c:v>-8.9616709727786386E-3</c:v>
                </c:pt>
                <c:pt idx="3369">
                  <c:v>-8.9816084618785617E-3</c:v>
                </c:pt>
                <c:pt idx="3370">
                  <c:v>-8.9418215498926982E-3</c:v>
                </c:pt>
                <c:pt idx="3371">
                  <c:v>-8.6318942016975347E-3</c:v>
                </c:pt>
                <c:pt idx="3372">
                  <c:v>-8.3105126918390435E-3</c:v>
                </c:pt>
                <c:pt idx="3373">
                  <c:v>-8.2047319813991597E-3</c:v>
                </c:pt>
                <c:pt idx="3374">
                  <c:v>-8.1618978980553328E-3</c:v>
                </c:pt>
                <c:pt idx="3375">
                  <c:v>-8.0650837376354013E-3</c:v>
                </c:pt>
                <c:pt idx="3376">
                  <c:v>-7.786638774659801E-3</c:v>
                </c:pt>
                <c:pt idx="3377">
                  <c:v>-7.5739815009638421E-3</c:v>
                </c:pt>
                <c:pt idx="3378">
                  <c:v>-7.3889145706470183E-3</c:v>
                </c:pt>
                <c:pt idx="3379">
                  <c:v>-7.1400432939383012E-3</c:v>
                </c:pt>
                <c:pt idx="3380">
                  <c:v>-6.9990906436342782E-3</c:v>
                </c:pt>
                <c:pt idx="3381">
                  <c:v>-6.9554067665702664E-3</c:v>
                </c:pt>
                <c:pt idx="3382">
                  <c:v>-6.9661769818239972E-3</c:v>
                </c:pt>
                <c:pt idx="3383">
                  <c:v>-7.0319420962299773E-3</c:v>
                </c:pt>
                <c:pt idx="3384">
                  <c:v>-7.0853628368081857E-3</c:v>
                </c:pt>
                <c:pt idx="3385">
                  <c:v>-7.1045281880761568E-3</c:v>
                </c:pt>
                <c:pt idx="3386">
                  <c:v>-7.0690138358605837E-3</c:v>
                </c:pt>
                <c:pt idx="3387">
                  <c:v>-6.8467305693880398E-3</c:v>
                </c:pt>
                <c:pt idx="3388">
                  <c:v>-6.5881694498758706E-3</c:v>
                </c:pt>
                <c:pt idx="3389">
                  <c:v>-6.1646664667948754E-3</c:v>
                </c:pt>
                <c:pt idx="3390">
                  <c:v>-5.7187910391807923E-3</c:v>
                </c:pt>
                <c:pt idx="3391">
                  <c:v>-5.6541058935894537E-3</c:v>
                </c:pt>
                <c:pt idx="3392">
                  <c:v>-5.9452380515316785E-3</c:v>
                </c:pt>
                <c:pt idx="3393">
                  <c:v>-6.2308956126897125E-3</c:v>
                </c:pt>
                <c:pt idx="3394">
                  <c:v>-6.4593032523047825E-3</c:v>
                </c:pt>
                <c:pt idx="3395">
                  <c:v>-5.9567107046367106E-3</c:v>
                </c:pt>
                <c:pt idx="3396">
                  <c:v>-5.2802793445264817E-3</c:v>
                </c:pt>
                <c:pt idx="3397">
                  <c:v>-4.4920170572782647E-3</c:v>
                </c:pt>
                <c:pt idx="3398">
                  <c:v>-3.8317819800646313E-3</c:v>
                </c:pt>
                <c:pt idx="3399">
                  <c:v>-2.9821033600124836E-3</c:v>
                </c:pt>
                <c:pt idx="3400">
                  <c:v>-2.7850745902027606E-3</c:v>
                </c:pt>
                <c:pt idx="3401">
                  <c:v>-3.3791432571443928E-3</c:v>
                </c:pt>
                <c:pt idx="3402">
                  <c:v>-4.0710046188548376E-3</c:v>
                </c:pt>
                <c:pt idx="3403">
                  <c:v>-4.2686267211511728E-3</c:v>
                </c:pt>
                <c:pt idx="3404">
                  <c:v>-4.2094388483025578E-3</c:v>
                </c:pt>
                <c:pt idx="3405">
                  <c:v>-3.8657162039219704E-3</c:v>
                </c:pt>
                <c:pt idx="3406">
                  <c:v>-3.3377985732575555E-3</c:v>
                </c:pt>
                <c:pt idx="3407">
                  <c:v>-3.1908592544840492E-3</c:v>
                </c:pt>
                <c:pt idx="3408">
                  <c:v>-3.178624714958939E-3</c:v>
                </c:pt>
                <c:pt idx="3409">
                  <c:v>-3.0516520942421355E-3</c:v>
                </c:pt>
                <c:pt idx="3410">
                  <c:v>-2.9486740818051873E-3</c:v>
                </c:pt>
                <c:pt idx="3411">
                  <c:v>-3.1209336880718354E-3</c:v>
                </c:pt>
                <c:pt idx="3412">
                  <c:v>-3.4139659057355514E-3</c:v>
                </c:pt>
                <c:pt idx="3413">
                  <c:v>-4.215191630979386E-3</c:v>
                </c:pt>
                <c:pt idx="3414">
                  <c:v>-5.4347078763198643E-3</c:v>
                </c:pt>
                <c:pt idx="3415">
                  <c:v>-6.2246258490551909E-3</c:v>
                </c:pt>
                <c:pt idx="3416">
                  <c:v>-6.4435646923688746E-3</c:v>
                </c:pt>
                <c:pt idx="3417">
                  <c:v>-6.6048064661622559E-3</c:v>
                </c:pt>
                <c:pt idx="3418">
                  <c:v>-6.6917557675256929E-3</c:v>
                </c:pt>
                <c:pt idx="3419">
                  <c:v>-6.7203553734959606E-3</c:v>
                </c:pt>
                <c:pt idx="3420">
                  <c:v>-6.7749926516013706E-3</c:v>
                </c:pt>
                <c:pt idx="3421">
                  <c:v>-6.9290590264966204E-3</c:v>
                </c:pt>
                <c:pt idx="3422">
                  <c:v>-7.0727731086481799E-3</c:v>
                </c:pt>
                <c:pt idx="3423">
                  <c:v>-7.1589076807007882E-3</c:v>
                </c:pt>
                <c:pt idx="3424">
                  <c:v>-7.1908120745451604E-3</c:v>
                </c:pt>
                <c:pt idx="3425">
                  <c:v>-7.233309160143064E-3</c:v>
                </c:pt>
                <c:pt idx="3426">
                  <c:v>-7.218500185608624E-3</c:v>
                </c:pt>
                <c:pt idx="3427">
                  <c:v>-7.1041753466148088E-3</c:v>
                </c:pt>
                <c:pt idx="3428">
                  <c:v>-6.9536877636477649E-3</c:v>
                </c:pt>
                <c:pt idx="3429">
                  <c:v>-6.8108066544343357E-3</c:v>
                </c:pt>
                <c:pt idx="3430">
                  <c:v>-6.5884160844056766E-3</c:v>
                </c:pt>
                <c:pt idx="3431">
                  <c:v>-6.2509247088655285E-3</c:v>
                </c:pt>
                <c:pt idx="3432">
                  <c:v>-5.9775049538428682E-3</c:v>
                </c:pt>
                <c:pt idx="3433">
                  <c:v>-5.7252210991342771E-3</c:v>
                </c:pt>
                <c:pt idx="3434">
                  <c:v>-5.4700722575703933E-3</c:v>
                </c:pt>
                <c:pt idx="3435">
                  <c:v>-5.0521997736955758E-3</c:v>
                </c:pt>
                <c:pt idx="3436">
                  <c:v>-4.8490509810952976E-3</c:v>
                </c:pt>
                <c:pt idx="3437">
                  <c:v>-4.7211801465609805E-3</c:v>
                </c:pt>
                <c:pt idx="3438">
                  <c:v>-4.9194731117519555E-3</c:v>
                </c:pt>
                <c:pt idx="3439">
                  <c:v>-5.2864472230582955E-3</c:v>
                </c:pt>
                <c:pt idx="3440">
                  <c:v>-5.6964043726963898E-3</c:v>
                </c:pt>
                <c:pt idx="3441">
                  <c:v>-5.789267796788811E-3</c:v>
                </c:pt>
                <c:pt idx="3442">
                  <c:v>-5.8199998579585421E-3</c:v>
                </c:pt>
                <c:pt idx="3443">
                  <c:v>-5.4208534134594071E-3</c:v>
                </c:pt>
                <c:pt idx="3444">
                  <c:v>-4.2270623785063974E-3</c:v>
                </c:pt>
                <c:pt idx="3445">
                  <c:v>-2.942700659316302E-3</c:v>
                </c:pt>
                <c:pt idx="3446">
                  <c:v>-7.1629437255861083E-4</c:v>
                </c:pt>
                <c:pt idx="3447">
                  <c:v>4.3606483761171252E-4</c:v>
                </c:pt>
                <c:pt idx="3448">
                  <c:v>-1.4977739721068126E-4</c:v>
                </c:pt>
                <c:pt idx="3449">
                  <c:v>-1.290374626355598E-3</c:v>
                </c:pt>
                <c:pt idx="3450">
                  <c:v>-2.6575120885260024E-3</c:v>
                </c:pt>
                <c:pt idx="3451">
                  <c:v>-3.6975690577755261E-3</c:v>
                </c:pt>
                <c:pt idx="3452">
                  <c:v>-3.7761454196072351E-3</c:v>
                </c:pt>
                <c:pt idx="3453">
                  <c:v>-2.9268681122400888E-3</c:v>
                </c:pt>
                <c:pt idx="3454">
                  <c:v>-2.2364651826270038E-3</c:v>
                </c:pt>
                <c:pt idx="3455">
                  <c:v>-1.6849892646044421E-3</c:v>
                </c:pt>
                <c:pt idx="3456">
                  <c:v>-1.5032981627820588E-3</c:v>
                </c:pt>
                <c:pt idx="3457">
                  <c:v>-1.6964628132701744E-3</c:v>
                </c:pt>
                <c:pt idx="3458">
                  <c:v>-1.9282540499526799E-3</c:v>
                </c:pt>
                <c:pt idx="3459">
                  <c:v>-2.342632200314939E-3</c:v>
                </c:pt>
                <c:pt idx="3460">
                  <c:v>-2.709673949933513E-3</c:v>
                </c:pt>
                <c:pt idx="3461">
                  <c:v>-3.0973113948637131E-3</c:v>
                </c:pt>
                <c:pt idx="3462">
                  <c:v>-3.3234110981708153E-3</c:v>
                </c:pt>
                <c:pt idx="3463">
                  <c:v>-3.3674982592254727E-3</c:v>
                </c:pt>
                <c:pt idx="3464">
                  <c:v>-3.3371056198265962E-3</c:v>
                </c:pt>
                <c:pt idx="3465">
                  <c:v>-3.4697533344930399E-3</c:v>
                </c:pt>
                <c:pt idx="3466">
                  <c:v>-3.7659911435821199E-3</c:v>
                </c:pt>
                <c:pt idx="3467">
                  <c:v>-3.9711943659101485E-3</c:v>
                </c:pt>
                <c:pt idx="3468">
                  <c:v>-4.0310989439501527E-3</c:v>
                </c:pt>
                <c:pt idx="3469">
                  <c:v>-4.1915128311269759E-3</c:v>
                </c:pt>
                <c:pt idx="3470">
                  <c:v>-4.2460623856926602E-3</c:v>
                </c:pt>
                <c:pt idx="3471">
                  <c:v>-3.7624653883506706E-3</c:v>
                </c:pt>
                <c:pt idx="3472">
                  <c:v>-3.8910345782656088E-3</c:v>
                </c:pt>
                <c:pt idx="3473">
                  <c:v>-4.0253944084287004E-3</c:v>
                </c:pt>
                <c:pt idx="3474">
                  <c:v>-4.1375421846354694E-3</c:v>
                </c:pt>
                <c:pt idx="3475">
                  <c:v>-4.2661659959078013E-3</c:v>
                </c:pt>
                <c:pt idx="3476">
                  <c:v>-5.0965743358349341E-3</c:v>
                </c:pt>
                <c:pt idx="3477">
                  <c:v>-5.562453781680991E-3</c:v>
                </c:pt>
                <c:pt idx="3478">
                  <c:v>-5.3804347189580493E-3</c:v>
                </c:pt>
                <c:pt idx="3479">
                  <c:v>-4.7772491882573237E-3</c:v>
                </c:pt>
                <c:pt idx="3480">
                  <c:v>-3.5426430551128256E-3</c:v>
                </c:pt>
                <c:pt idx="3481">
                  <c:v>-1.913223696405706E-3</c:v>
                </c:pt>
                <c:pt idx="3482">
                  <c:v>-1.2454669321697483E-4</c:v>
                </c:pt>
                <c:pt idx="3483">
                  <c:v>3.1682259049206542E-4</c:v>
                </c:pt>
                <c:pt idx="3484">
                  <c:v>6.3712049068373813E-4</c:v>
                </c:pt>
                <c:pt idx="3485">
                  <c:v>-2.0645246389094582E-4</c:v>
                </c:pt>
                <c:pt idx="3486">
                  <c:v>-1.6091575725556435E-3</c:v>
                </c:pt>
                <c:pt idx="3487">
                  <c:v>-2.7708208690189352E-3</c:v>
                </c:pt>
                <c:pt idx="3488">
                  <c:v>-3.5054008157678791E-3</c:v>
                </c:pt>
                <c:pt idx="3489">
                  <c:v>-4.2217421879630276E-3</c:v>
                </c:pt>
                <c:pt idx="3490">
                  <c:v>-4.7647840531399571E-3</c:v>
                </c:pt>
                <c:pt idx="3491">
                  <c:v>-4.9475412497415614E-3</c:v>
                </c:pt>
                <c:pt idx="3492">
                  <c:v>-5.2496900151458642E-3</c:v>
                </c:pt>
                <c:pt idx="3493">
                  <c:v>-5.5415949820143149E-3</c:v>
                </c:pt>
                <c:pt idx="3494">
                  <c:v>-5.9190142087145927E-3</c:v>
                </c:pt>
                <c:pt idx="3495">
                  <c:v>-6.2252789137479444E-3</c:v>
                </c:pt>
                <c:pt idx="3496">
                  <c:v>-6.1094331239869692E-3</c:v>
                </c:pt>
                <c:pt idx="3497">
                  <c:v>-5.9918785115536961E-3</c:v>
                </c:pt>
                <c:pt idx="3498">
                  <c:v>-6.4248819484652841E-3</c:v>
                </c:pt>
                <c:pt idx="3499">
                  <c:v>-6.4786078145276441E-3</c:v>
                </c:pt>
                <c:pt idx="3500">
                  <c:v>-6.6455285722754462E-3</c:v>
                </c:pt>
                <c:pt idx="3501">
                  <c:v>-8.7508390500140917E-3</c:v>
                </c:pt>
                <c:pt idx="3502">
                  <c:v>-8.400058059164113E-3</c:v>
                </c:pt>
                <c:pt idx="3503">
                  <c:v>-8.1060393253216349E-3</c:v>
                </c:pt>
                <c:pt idx="3504">
                  <c:v>-7.5439126101748662E-3</c:v>
                </c:pt>
                <c:pt idx="3505">
                  <c:v>-6.5910417281026621E-3</c:v>
                </c:pt>
                <c:pt idx="3506">
                  <c:v>-5.3500897167239291E-3</c:v>
                </c:pt>
                <c:pt idx="3507">
                  <c:v>-5.0126802247406656E-3</c:v>
                </c:pt>
                <c:pt idx="3508">
                  <c:v>-4.7618689401848317E-3</c:v>
                </c:pt>
                <c:pt idx="3509">
                  <c:v>-4.310824499164677E-3</c:v>
                </c:pt>
                <c:pt idx="3510">
                  <c:v>-3.5507028860982566E-3</c:v>
                </c:pt>
                <c:pt idx="3511">
                  <c:v>-2.3988409988888121E-3</c:v>
                </c:pt>
                <c:pt idx="3512">
                  <c:v>-9.5569101077704662E-4</c:v>
                </c:pt>
                <c:pt idx="3513">
                  <c:v>-3.9018055355259564E-4</c:v>
                </c:pt>
                <c:pt idx="3514">
                  <c:v>-3.1377020365361274E-5</c:v>
                </c:pt>
                <c:pt idx="3515">
                  <c:v>2.0546900244332224E-4</c:v>
                </c:pt>
                <c:pt idx="3516">
                  <c:v>3.0028480378649965E-4</c:v>
                </c:pt>
                <c:pt idx="3517">
                  <c:v>3.2413979001797485E-4</c:v>
                </c:pt>
                <c:pt idx="3518">
                  <c:v>3.879761972169337E-4</c:v>
                </c:pt>
                <c:pt idx="3519">
                  <c:v>4.691435571117222E-4</c:v>
                </c:pt>
                <c:pt idx="3520">
                  <c:v>5.0483526054130069E-4</c:v>
                </c:pt>
                <c:pt idx="3521">
                  <c:v>4.6392407391475984E-4</c:v>
                </c:pt>
                <c:pt idx="3522">
                  <c:v>3.3100624073245048E-4</c:v>
                </c:pt>
                <c:pt idx="3523">
                  <c:v>2.2665137503726732E-4</c:v>
                </c:pt>
                <c:pt idx="3524">
                  <c:v>1.3712039488834871E-5</c:v>
                </c:pt>
                <c:pt idx="3525">
                  <c:v>-1.4766515752748493E-4</c:v>
                </c:pt>
                <c:pt idx="3526">
                  <c:v>-3.3145877653120628E-4</c:v>
                </c:pt>
                <c:pt idx="3527">
                  <c:v>-5.4472062502142118E-4</c:v>
                </c:pt>
                <c:pt idx="3528">
                  <c:v>-5.8982770474160472E-4</c:v>
                </c:pt>
                <c:pt idx="3529">
                  <c:v>-6.0040585415985486E-4</c:v>
                </c:pt>
                <c:pt idx="3530">
                  <c:v>-7.6107524799532474E-4</c:v>
                </c:pt>
                <c:pt idx="3531">
                  <c:v>-6.8225228091869927E-4</c:v>
                </c:pt>
                <c:pt idx="3532">
                  <c:v>-6.1735514132395513E-4</c:v>
                </c:pt>
                <c:pt idx="3533">
                  <c:v>-6.4934538516794264E-4</c:v>
                </c:pt>
                <c:pt idx="3534">
                  <c:v>-7.2470173774739303E-4</c:v>
                </c:pt>
                <c:pt idx="3535">
                  <c:v>-8.7865390284479639E-4</c:v>
                </c:pt>
                <c:pt idx="3536">
                  <c:v>-9.5823455387542087E-4</c:v>
                </c:pt>
                <c:pt idx="3537">
                  <c:v>-7.2146776969886969E-4</c:v>
                </c:pt>
                <c:pt idx="3538">
                  <c:v>-2.5236235216256116E-4</c:v>
                </c:pt>
                <c:pt idx="3539">
                  <c:v>1.8489554943788671E-4</c:v>
                </c:pt>
                <c:pt idx="3540">
                  <c:v>4.2998724757200429E-4</c:v>
                </c:pt>
                <c:pt idx="3541">
                  <c:v>3.2688515024161761E-4</c:v>
                </c:pt>
                <c:pt idx="3542">
                  <c:v>-8.5681446139457534E-4</c:v>
                </c:pt>
                <c:pt idx="3543">
                  <c:v>-1.6982358326827068E-3</c:v>
                </c:pt>
                <c:pt idx="3544">
                  <c:v>-2.009072000768046E-3</c:v>
                </c:pt>
                <c:pt idx="3545">
                  <c:v>-2.1515472224305334E-3</c:v>
                </c:pt>
                <c:pt idx="3546">
                  <c:v>-4.1399650085616512E-3</c:v>
                </c:pt>
                <c:pt idx="3547">
                  <c:v>-5.5079301162725934E-3</c:v>
                </c:pt>
                <c:pt idx="3548">
                  <c:v>-6.5652450945763961E-3</c:v>
                </c:pt>
                <c:pt idx="3549">
                  <c:v>-7.212031371532218E-3</c:v>
                </c:pt>
                <c:pt idx="3550">
                  <c:v>-7.5629596164979293E-3</c:v>
                </c:pt>
                <c:pt idx="3551">
                  <c:v>-7.7486630373124459E-3</c:v>
                </c:pt>
                <c:pt idx="3552">
                  <c:v>-7.7598912566700737E-3</c:v>
                </c:pt>
                <c:pt idx="3553">
                  <c:v>-7.744291321562337E-3</c:v>
                </c:pt>
                <c:pt idx="3554">
                  <c:v>-7.770121861532601E-3</c:v>
                </c:pt>
                <c:pt idx="3555">
                  <c:v>-7.9689235838412698E-3</c:v>
                </c:pt>
                <c:pt idx="3556">
                  <c:v>-8.1435496831090276E-3</c:v>
                </c:pt>
                <c:pt idx="3557">
                  <c:v>-8.347892109480639E-3</c:v>
                </c:pt>
                <c:pt idx="3558">
                  <c:v>-8.49535135400851E-3</c:v>
                </c:pt>
                <c:pt idx="3559">
                  <c:v>-8.1459724995537955E-3</c:v>
                </c:pt>
                <c:pt idx="3560">
                  <c:v>-6.285020953839233E-3</c:v>
                </c:pt>
                <c:pt idx="3561">
                  <c:v>-6.412327744398671E-3</c:v>
                </c:pt>
                <c:pt idx="3562">
                  <c:v>-6.485940579580237E-3</c:v>
                </c:pt>
                <c:pt idx="3563">
                  <c:v>-6.4246494419968291E-3</c:v>
                </c:pt>
                <c:pt idx="3564">
                  <c:v>-6.2700012290597927E-3</c:v>
                </c:pt>
                <c:pt idx="3565">
                  <c:v>-6.1130548867947849E-3</c:v>
                </c:pt>
                <c:pt idx="3566">
                  <c:v>-5.8774332455256801E-3</c:v>
                </c:pt>
                <c:pt idx="3567">
                  <c:v>-5.6459938408956172E-3</c:v>
                </c:pt>
                <c:pt idx="3568">
                  <c:v>-5.399916210080141E-3</c:v>
                </c:pt>
                <c:pt idx="3569">
                  <c:v>-5.3513134734449836E-3</c:v>
                </c:pt>
                <c:pt idx="3570">
                  <c:v>-5.4027054646416757E-3</c:v>
                </c:pt>
                <c:pt idx="3571">
                  <c:v>-5.724072381775842E-3</c:v>
                </c:pt>
                <c:pt idx="3572">
                  <c:v>-6.1517338970188155E-3</c:v>
                </c:pt>
                <c:pt idx="3573">
                  <c:v>-6.5774897762486103E-3</c:v>
                </c:pt>
                <c:pt idx="3574">
                  <c:v>-6.9945488416985075E-3</c:v>
                </c:pt>
                <c:pt idx="3575">
                  <c:v>-7.482670814589502E-3</c:v>
                </c:pt>
                <c:pt idx="3576">
                  <c:v>-7.1335008519059079E-3</c:v>
                </c:pt>
                <c:pt idx="3577">
                  <c:v>-6.0058749340323779E-3</c:v>
                </c:pt>
                <c:pt idx="3578">
                  <c:v>-4.0274641718311775E-3</c:v>
                </c:pt>
                <c:pt idx="3579">
                  <c:v>-2.5085370387830019E-3</c:v>
                </c:pt>
                <c:pt idx="3580">
                  <c:v>-1.1429098580401607E-3</c:v>
                </c:pt>
                <c:pt idx="3581">
                  <c:v>3.169777108610319E-4</c:v>
                </c:pt>
                <c:pt idx="3582">
                  <c:v>1.0993346918171838E-3</c:v>
                </c:pt>
                <c:pt idx="3583">
                  <c:v>2.3680668412074534E-3</c:v>
                </c:pt>
                <c:pt idx="3584">
                  <c:v>2.7789983362872419E-3</c:v>
                </c:pt>
                <c:pt idx="3585">
                  <c:v>2.758908471349064E-3</c:v>
                </c:pt>
                <c:pt idx="3586">
                  <c:v>4.404446852714853E-3</c:v>
                </c:pt>
                <c:pt idx="3587">
                  <c:v>5.459360041433034E-3</c:v>
                </c:pt>
                <c:pt idx="3588">
                  <c:v>5.6557726720374343E-3</c:v>
                </c:pt>
                <c:pt idx="3589">
                  <c:v>5.332595370044481E-3</c:v>
                </c:pt>
                <c:pt idx="3590">
                  <c:v>3.6530408719535534E-3</c:v>
                </c:pt>
                <c:pt idx="3591">
                  <c:v>2.5820541098031148E-3</c:v>
                </c:pt>
                <c:pt idx="3592">
                  <c:v>1.0259498486604908E-3</c:v>
                </c:pt>
                <c:pt idx="3593">
                  <c:v>-6.7413726372322381E-4</c:v>
                </c:pt>
                <c:pt idx="3594">
                  <c:v>-2.0252598295290355E-3</c:v>
                </c:pt>
                <c:pt idx="3595">
                  <c:v>-3.3766071013905576E-3</c:v>
                </c:pt>
                <c:pt idx="3596">
                  <c:v>-4.2919598915411548E-3</c:v>
                </c:pt>
                <c:pt idx="3597">
                  <c:v>-5.0541545138647094E-3</c:v>
                </c:pt>
                <c:pt idx="3598">
                  <c:v>-5.4981910476079223E-3</c:v>
                </c:pt>
                <c:pt idx="3599">
                  <c:v>-5.7473070457177023E-3</c:v>
                </c:pt>
                <c:pt idx="3600">
                  <c:v>-6.0673673001523966E-3</c:v>
                </c:pt>
                <c:pt idx="3601">
                  <c:v>-6.2906808394046429E-3</c:v>
                </c:pt>
                <c:pt idx="3602">
                  <c:v>-6.8749377213024702E-3</c:v>
                </c:pt>
                <c:pt idx="3603">
                  <c:v>-7.153910615314096E-3</c:v>
                </c:pt>
                <c:pt idx="3604">
                  <c:v>-7.2603723698131534E-3</c:v>
                </c:pt>
                <c:pt idx="3605">
                  <c:v>-7.1868883060594944E-3</c:v>
                </c:pt>
                <c:pt idx="3606">
                  <c:v>-6.5065637256725099E-3</c:v>
                </c:pt>
                <c:pt idx="3607">
                  <c:v>-5.7933392076664463E-3</c:v>
                </c:pt>
                <c:pt idx="3608">
                  <c:v>-5.8060603868486677E-3</c:v>
                </c:pt>
                <c:pt idx="3609">
                  <c:v>-5.4491430904974984E-3</c:v>
                </c:pt>
                <c:pt idx="3610">
                  <c:v>-4.9936485415156655E-3</c:v>
                </c:pt>
                <c:pt idx="3611">
                  <c:v>-4.7087313910641748E-3</c:v>
                </c:pt>
                <c:pt idx="3612">
                  <c:v>-4.1455043868698204E-3</c:v>
                </c:pt>
                <c:pt idx="3613">
                  <c:v>-4.0528348225124071E-3</c:v>
                </c:pt>
                <c:pt idx="3614">
                  <c:v>-3.5661905728737453E-3</c:v>
                </c:pt>
                <c:pt idx="3615">
                  <c:v>-3.0146983964983373E-3</c:v>
                </c:pt>
                <c:pt idx="3616">
                  <c:v>-3.1430224757993605E-3</c:v>
                </c:pt>
                <c:pt idx="3617">
                  <c:v>-2.8220663726794912E-3</c:v>
                </c:pt>
                <c:pt idx="3618">
                  <c:v>-2.7222363319722035E-3</c:v>
                </c:pt>
                <c:pt idx="3619">
                  <c:v>-2.5907702034057472E-3</c:v>
                </c:pt>
                <c:pt idx="3620">
                  <c:v>-2.4017071382332134E-3</c:v>
                </c:pt>
                <c:pt idx="3621">
                  <c:v>-2.3095709348080065E-3</c:v>
                </c:pt>
                <c:pt idx="3622">
                  <c:v>-2.3234610853372622E-3</c:v>
                </c:pt>
                <c:pt idx="3623">
                  <c:v>-2.4119234812241663E-3</c:v>
                </c:pt>
                <c:pt idx="3624">
                  <c:v>-2.5150583085298038E-3</c:v>
                </c:pt>
                <c:pt idx="3625">
                  <c:v>-2.404173734609924E-3</c:v>
                </c:pt>
                <c:pt idx="3626">
                  <c:v>-2.439890910452382E-3</c:v>
                </c:pt>
                <c:pt idx="3627">
                  <c:v>-2.4965401020280373E-3</c:v>
                </c:pt>
                <c:pt idx="3628">
                  <c:v>-2.5523495973059744E-3</c:v>
                </c:pt>
                <c:pt idx="3629">
                  <c:v>-2.4551668632214387E-3</c:v>
                </c:pt>
                <c:pt idx="3630">
                  <c:v>-2.4287043511342678E-3</c:v>
                </c:pt>
                <c:pt idx="3631">
                  <c:v>-2.4538442379918018E-3</c:v>
                </c:pt>
                <c:pt idx="3632">
                  <c:v>-2.4091609164901551E-3</c:v>
                </c:pt>
                <c:pt idx="3633">
                  <c:v>-2.5641221601519172E-3</c:v>
                </c:pt>
                <c:pt idx="3634">
                  <c:v>-2.6898251043975105E-3</c:v>
                </c:pt>
                <c:pt idx="3635">
                  <c:v>-2.976676143951534E-3</c:v>
                </c:pt>
                <c:pt idx="3636">
                  <c:v>-4.0084553942119315E-3</c:v>
                </c:pt>
                <c:pt idx="3637">
                  <c:v>-4.9156151692890714E-3</c:v>
                </c:pt>
                <c:pt idx="3638">
                  <c:v>-5.2621032608935053E-3</c:v>
                </c:pt>
                <c:pt idx="3639">
                  <c:v>-5.2062742050600639E-3</c:v>
                </c:pt>
                <c:pt idx="3640">
                  <c:v>-5.131559690253344E-3</c:v>
                </c:pt>
                <c:pt idx="3641">
                  <c:v>-4.9067674946783341E-3</c:v>
                </c:pt>
                <c:pt idx="3642">
                  <c:v>-4.6769553467630679E-3</c:v>
                </c:pt>
                <c:pt idx="3643">
                  <c:v>-4.7720381647330728E-3</c:v>
                </c:pt>
                <c:pt idx="3644">
                  <c:v>-4.8616990012183116E-3</c:v>
                </c:pt>
                <c:pt idx="3645">
                  <c:v>-4.8573380985136643E-3</c:v>
                </c:pt>
                <c:pt idx="3646">
                  <c:v>-4.8157375639345272E-3</c:v>
                </c:pt>
                <c:pt idx="3647">
                  <c:v>-4.8183707985742846E-3</c:v>
                </c:pt>
                <c:pt idx="3648">
                  <c:v>-4.8360802208205099E-3</c:v>
                </c:pt>
                <c:pt idx="3649">
                  <c:v>-4.8430205844584885E-3</c:v>
                </c:pt>
                <c:pt idx="3650">
                  <c:v>-4.7306958522062275E-3</c:v>
                </c:pt>
                <c:pt idx="3651">
                  <c:v>-4.363898310104794E-3</c:v>
                </c:pt>
                <c:pt idx="3652">
                  <c:v>-4.221474671265337E-3</c:v>
                </c:pt>
                <c:pt idx="3653">
                  <c:v>-3.64792518758784E-3</c:v>
                </c:pt>
                <c:pt idx="3654">
                  <c:v>-3.4514660530156425E-3</c:v>
                </c:pt>
                <c:pt idx="3655">
                  <c:v>-3.4499224193355171E-3</c:v>
                </c:pt>
                <c:pt idx="3656">
                  <c:v>-3.5457564350003931E-3</c:v>
                </c:pt>
                <c:pt idx="3657">
                  <c:v>-3.5657217628821333E-3</c:v>
                </c:pt>
                <c:pt idx="3658">
                  <c:v>-3.5634794082639006E-3</c:v>
                </c:pt>
                <c:pt idx="3659">
                  <c:v>-3.6450065521598934E-3</c:v>
                </c:pt>
                <c:pt idx="3660">
                  <c:v>-3.7587187509560398E-3</c:v>
                </c:pt>
                <c:pt idx="3661">
                  <c:v>-3.8082809870590177E-3</c:v>
                </c:pt>
                <c:pt idx="3662">
                  <c:v>-3.7619326637410968E-3</c:v>
                </c:pt>
                <c:pt idx="3663">
                  <c:v>-3.6222148718761636E-3</c:v>
                </c:pt>
                <c:pt idx="3664">
                  <c:v>-3.2985001275141323E-3</c:v>
                </c:pt>
                <c:pt idx="3665">
                  <c:v>-2.8590554243522158E-3</c:v>
                </c:pt>
                <c:pt idx="3666">
                  <c:v>-2.5293690621160719E-3</c:v>
                </c:pt>
                <c:pt idx="3667">
                  <c:v>-2.1582728991608666E-3</c:v>
                </c:pt>
                <c:pt idx="3668">
                  <c:v>-6.6208810513793039E-4</c:v>
                </c:pt>
                <c:pt idx="3669">
                  <c:v>7.991192156269018E-4</c:v>
                </c:pt>
                <c:pt idx="3670">
                  <c:v>2.2109505801572878E-3</c:v>
                </c:pt>
                <c:pt idx="3671">
                  <c:v>3.4657116410874906E-3</c:v>
                </c:pt>
                <c:pt idx="3672">
                  <c:v>3.487671053647055E-3</c:v>
                </c:pt>
                <c:pt idx="3673">
                  <c:v>2.9280641705099197E-3</c:v>
                </c:pt>
                <c:pt idx="3674">
                  <c:v>2.4016220968847654E-3</c:v>
                </c:pt>
                <c:pt idx="3675">
                  <c:v>2.3386111993404495E-3</c:v>
                </c:pt>
                <c:pt idx="3676">
                  <c:v>2.3112113572493647E-3</c:v>
                </c:pt>
                <c:pt idx="3677">
                  <c:v>2.4543453932951795E-3</c:v>
                </c:pt>
                <c:pt idx="3678">
                  <c:v>2.5342836689057689E-3</c:v>
                </c:pt>
                <c:pt idx="3679">
                  <c:v>2.4981074939526985E-3</c:v>
                </c:pt>
                <c:pt idx="3680">
                  <c:v>2.4271983381846688E-3</c:v>
                </c:pt>
                <c:pt idx="3681">
                  <c:v>1.9795156700351162E-3</c:v>
                </c:pt>
                <c:pt idx="3682">
                  <c:v>1.6432092810871532E-3</c:v>
                </c:pt>
                <c:pt idx="3683">
                  <c:v>1.0601180709305805E-3</c:v>
                </c:pt>
                <c:pt idx="3684">
                  <c:v>5.5129535175033224E-4</c:v>
                </c:pt>
                <c:pt idx="3685">
                  <c:v>-3.6296244171779828E-4</c:v>
                </c:pt>
                <c:pt idx="3686">
                  <c:v>-1.5970105913766684E-3</c:v>
                </c:pt>
                <c:pt idx="3687">
                  <c:v>-2.6275198838126073E-3</c:v>
                </c:pt>
                <c:pt idx="3688">
                  <c:v>-3.9420180450061328E-3</c:v>
                </c:pt>
                <c:pt idx="3689">
                  <c:v>-5.4618327121313068E-3</c:v>
                </c:pt>
                <c:pt idx="3690">
                  <c:v>-6.6197768138444215E-3</c:v>
                </c:pt>
                <c:pt idx="3691">
                  <c:v>-7.5683598202019959E-3</c:v>
                </c:pt>
                <c:pt idx="3692">
                  <c:v>-8.350134579322939E-3</c:v>
                </c:pt>
                <c:pt idx="3693">
                  <c:v>-8.8949209242958627E-3</c:v>
                </c:pt>
                <c:pt idx="3694">
                  <c:v>-8.8675536600694872E-3</c:v>
                </c:pt>
                <c:pt idx="3695">
                  <c:v>-8.8395075275700882E-3</c:v>
                </c:pt>
                <c:pt idx="3696">
                  <c:v>-8.814056131189265E-3</c:v>
                </c:pt>
                <c:pt idx="3697">
                  <c:v>-8.5595791100785412E-3</c:v>
                </c:pt>
                <c:pt idx="3698">
                  <c:v>-8.8600357719672181E-3</c:v>
                </c:pt>
                <c:pt idx="3699">
                  <c:v>-9.4650467395286444E-3</c:v>
                </c:pt>
                <c:pt idx="3700">
                  <c:v>-9.8432444495852867E-3</c:v>
                </c:pt>
                <c:pt idx="3701">
                  <c:v>-9.408344854453193E-3</c:v>
                </c:pt>
                <c:pt idx="3702">
                  <c:v>-8.9126029783212421E-3</c:v>
                </c:pt>
                <c:pt idx="3703">
                  <c:v>-8.4279888521831253E-3</c:v>
                </c:pt>
                <c:pt idx="3704">
                  <c:v>-7.9593607442932385E-3</c:v>
                </c:pt>
                <c:pt idx="3705">
                  <c:v>-7.4711190675898513E-3</c:v>
                </c:pt>
                <c:pt idx="3706">
                  <c:v>-7.0329075382232625E-3</c:v>
                </c:pt>
                <c:pt idx="3707">
                  <c:v>-6.3044994751223398E-3</c:v>
                </c:pt>
                <c:pt idx="3708">
                  <c:v>-5.4743527114613959E-3</c:v>
                </c:pt>
                <c:pt idx="3709">
                  <c:v>-4.0179155231306295E-3</c:v>
                </c:pt>
                <c:pt idx="3710">
                  <c:v>-1.343351435621757E-3</c:v>
                </c:pt>
                <c:pt idx="3711">
                  <c:v>6.0338594612044556E-5</c:v>
                </c:pt>
                <c:pt idx="3712">
                  <c:v>8.7050336481105106E-4</c:v>
                </c:pt>
                <c:pt idx="3713">
                  <c:v>1.8721602671055455E-3</c:v>
                </c:pt>
                <c:pt idx="3714">
                  <c:v>2.8371271411667181E-3</c:v>
                </c:pt>
                <c:pt idx="3715">
                  <c:v>4.0353987969318442E-3</c:v>
                </c:pt>
                <c:pt idx="3716">
                  <c:v>4.2311271923707256E-3</c:v>
                </c:pt>
                <c:pt idx="3717">
                  <c:v>4.402829864193711E-3</c:v>
                </c:pt>
                <c:pt idx="3718">
                  <c:v>4.0590512280382178E-3</c:v>
                </c:pt>
                <c:pt idx="3719">
                  <c:v>3.8293732126851764E-3</c:v>
                </c:pt>
                <c:pt idx="3720">
                  <c:v>3.3145045299692154E-3</c:v>
                </c:pt>
                <c:pt idx="3721">
                  <c:v>2.6601167322563976E-3</c:v>
                </c:pt>
                <c:pt idx="3722">
                  <c:v>2.1923541955216471E-3</c:v>
                </c:pt>
                <c:pt idx="3723">
                  <c:v>1.3979955482861526E-3</c:v>
                </c:pt>
                <c:pt idx="3724">
                  <c:v>6.0056022299307624E-4</c:v>
                </c:pt>
                <c:pt idx="3725">
                  <c:v>1.5735347358357583E-4</c:v>
                </c:pt>
                <c:pt idx="3726">
                  <c:v>-4.1378057303837097E-4</c:v>
                </c:pt>
                <c:pt idx="3727">
                  <c:v>-1.033101769756269E-3</c:v>
                </c:pt>
                <c:pt idx="3728">
                  <c:v>-1.6432215350370661E-3</c:v>
                </c:pt>
                <c:pt idx="3729">
                  <c:v>-2.3974991134065151E-3</c:v>
                </c:pt>
                <c:pt idx="3730">
                  <c:v>-3.2720535131504046E-3</c:v>
                </c:pt>
                <c:pt idx="3731">
                  <c:v>-4.0692190576415554E-3</c:v>
                </c:pt>
                <c:pt idx="3732">
                  <c:v>-4.6588536146501191E-3</c:v>
                </c:pt>
                <c:pt idx="3733">
                  <c:v>-5.3223617302725857E-3</c:v>
                </c:pt>
                <c:pt idx="3734">
                  <c:v>-5.401307968385111E-3</c:v>
                </c:pt>
                <c:pt idx="3735">
                  <c:v>-5.501032753463247E-3</c:v>
                </c:pt>
                <c:pt idx="3736">
                  <c:v>-5.7755033114297843E-3</c:v>
                </c:pt>
                <c:pt idx="3737">
                  <c:v>-6.0708114507449428E-3</c:v>
                </c:pt>
                <c:pt idx="3738">
                  <c:v>-6.3654850614080789E-3</c:v>
                </c:pt>
                <c:pt idx="3739">
                  <c:v>-6.700452215427118E-3</c:v>
                </c:pt>
                <c:pt idx="3740">
                  <c:v>-7.9815071823188949E-3</c:v>
                </c:pt>
                <c:pt idx="3741">
                  <c:v>-8.8227453149374545E-3</c:v>
                </c:pt>
                <c:pt idx="3742">
                  <c:v>-8.8833875204342976E-3</c:v>
                </c:pt>
                <c:pt idx="3743">
                  <c:v>-8.8696059931823012E-3</c:v>
                </c:pt>
                <c:pt idx="3744">
                  <c:v>-8.8063616885585005E-3</c:v>
                </c:pt>
                <c:pt idx="3745">
                  <c:v>-9.8303514552399527E-3</c:v>
                </c:pt>
                <c:pt idx="3746">
                  <c:v>-9.6668025855353584E-3</c:v>
                </c:pt>
                <c:pt idx="3747">
                  <c:v>-9.551986980043857E-3</c:v>
                </c:pt>
                <c:pt idx="3748">
                  <c:v>-9.5250980120950395E-3</c:v>
                </c:pt>
                <c:pt idx="3749">
                  <c:v>-9.5502483173650083E-3</c:v>
                </c:pt>
                <c:pt idx="3750">
                  <c:v>-9.7342653845856452E-3</c:v>
                </c:pt>
                <c:pt idx="3751">
                  <c:v>-1.0002867498813916E-2</c:v>
                </c:pt>
                <c:pt idx="3752">
                  <c:v>-1.0220715896518875E-2</c:v>
                </c:pt>
                <c:pt idx="3753">
                  <c:v>-1.0278890154317055E-2</c:v>
                </c:pt>
                <c:pt idx="3754">
                  <c:v>-1.0193942990761186E-2</c:v>
                </c:pt>
                <c:pt idx="3755">
                  <c:v>-1.0078768858153973E-2</c:v>
                </c:pt>
                <c:pt idx="3756">
                  <c:v>-9.8683578055983653E-3</c:v>
                </c:pt>
                <c:pt idx="3757">
                  <c:v>-9.6719422173027533E-3</c:v>
                </c:pt>
                <c:pt idx="3758">
                  <c:v>-9.5062878261416434E-3</c:v>
                </c:pt>
                <c:pt idx="3759">
                  <c:v>-9.3567953713722674E-3</c:v>
                </c:pt>
                <c:pt idx="3760">
                  <c:v>-9.4354423959316092E-3</c:v>
                </c:pt>
                <c:pt idx="3761">
                  <c:v>-9.6302321043763642E-3</c:v>
                </c:pt>
                <c:pt idx="3762">
                  <c:v>-9.7777312249663628E-3</c:v>
                </c:pt>
                <c:pt idx="3763">
                  <c:v>-9.6167198124881524E-3</c:v>
                </c:pt>
                <c:pt idx="3764">
                  <c:v>-1.020101263405622E-2</c:v>
                </c:pt>
                <c:pt idx="3765">
                  <c:v>-1.0331607053016886E-2</c:v>
                </c:pt>
                <c:pt idx="3766">
                  <c:v>-1.0308583127156344E-2</c:v>
                </c:pt>
                <c:pt idx="3767">
                  <c:v>-1.0378607902422971E-2</c:v>
                </c:pt>
                <c:pt idx="3768">
                  <c:v>-1.0443515319021768E-2</c:v>
                </c:pt>
                <c:pt idx="3769">
                  <c:v>-1.0345616764556092E-2</c:v>
                </c:pt>
                <c:pt idx="3770">
                  <c:v>-1.0237084367837995E-2</c:v>
                </c:pt>
                <c:pt idx="3771">
                  <c:v>-1.0127765612942858E-2</c:v>
                </c:pt>
                <c:pt idx="3772">
                  <c:v>-1.0080950122997669E-2</c:v>
                </c:pt>
                <c:pt idx="3773">
                  <c:v>-1.0016957882410266E-2</c:v>
                </c:pt>
                <c:pt idx="3774">
                  <c:v>-9.916484625916322E-3</c:v>
                </c:pt>
                <c:pt idx="3775">
                  <c:v>-9.950943684639349E-3</c:v>
                </c:pt>
                <c:pt idx="3776">
                  <c:v>-1.00332236368847E-2</c:v>
                </c:pt>
                <c:pt idx="3777">
                  <c:v>-9.9345299389218197E-3</c:v>
                </c:pt>
                <c:pt idx="3778">
                  <c:v>-9.8555628253769404E-3</c:v>
                </c:pt>
                <c:pt idx="3779">
                  <c:v>-1.0051658465361959E-2</c:v>
                </c:pt>
                <c:pt idx="3780">
                  <c:v>-1.0128984536353948E-2</c:v>
                </c:pt>
                <c:pt idx="3781">
                  <c:v>-1.005650267063881E-2</c:v>
                </c:pt>
                <c:pt idx="3782">
                  <c:v>-9.9311692683917152E-3</c:v>
                </c:pt>
                <c:pt idx="3783">
                  <c:v>-9.7582644614304E-3</c:v>
                </c:pt>
                <c:pt idx="3784">
                  <c:v>-9.6409724458601347E-3</c:v>
                </c:pt>
                <c:pt idx="3785">
                  <c:v>-9.6157239453558228E-3</c:v>
                </c:pt>
                <c:pt idx="3786">
                  <c:v>-9.6028041336317736E-3</c:v>
                </c:pt>
                <c:pt idx="3787">
                  <c:v>-9.4702899618404612E-3</c:v>
                </c:pt>
                <c:pt idx="3788">
                  <c:v>-9.1667907159316865E-3</c:v>
                </c:pt>
                <c:pt idx="3789">
                  <c:v>-8.6455040680785047E-3</c:v>
                </c:pt>
                <c:pt idx="3790">
                  <c:v>-7.5974981908338169E-3</c:v>
                </c:pt>
                <c:pt idx="3791">
                  <c:v>-6.3619708751590448E-3</c:v>
                </c:pt>
                <c:pt idx="3792">
                  <c:v>-4.8412006536488004E-3</c:v>
                </c:pt>
                <c:pt idx="3793">
                  <c:v>-3.5976736495754273E-3</c:v>
                </c:pt>
                <c:pt idx="3794">
                  <c:v>-2.2750807098281785E-3</c:v>
                </c:pt>
                <c:pt idx="3795">
                  <c:v>-2.181763715101463E-3</c:v>
                </c:pt>
                <c:pt idx="3796">
                  <c:v>-2.3972146034721507E-3</c:v>
                </c:pt>
                <c:pt idx="3797">
                  <c:v>-2.3568013214008213E-3</c:v>
                </c:pt>
                <c:pt idx="3798">
                  <c:v>-2.2606046953459261E-3</c:v>
                </c:pt>
                <c:pt idx="3799">
                  <c:v>-2.3172520978745103E-3</c:v>
                </c:pt>
                <c:pt idx="3800">
                  <c:v>-2.6523390750509091E-3</c:v>
                </c:pt>
                <c:pt idx="3801">
                  <c:v>-2.9351889369783933E-3</c:v>
                </c:pt>
                <c:pt idx="3802">
                  <c:v>-3.1032812285267065E-3</c:v>
                </c:pt>
                <c:pt idx="3803">
                  <c:v>-3.5485844996912398E-3</c:v>
                </c:pt>
                <c:pt idx="3804">
                  <c:v>-4.0036145481574985E-3</c:v>
                </c:pt>
                <c:pt idx="3805">
                  <c:v>-4.570077195705723E-3</c:v>
                </c:pt>
                <c:pt idx="3806">
                  <c:v>-5.1831953902985381E-3</c:v>
                </c:pt>
                <c:pt idx="3807">
                  <c:v>-5.7861501884818433E-3</c:v>
                </c:pt>
                <c:pt idx="3808">
                  <c:v>-6.4439793127609325E-3</c:v>
                </c:pt>
                <c:pt idx="3809">
                  <c:v>-7.0787555768695668E-3</c:v>
                </c:pt>
                <c:pt idx="3810">
                  <c:v>-7.5559769314602629E-3</c:v>
                </c:pt>
                <c:pt idx="3811">
                  <c:v>-7.6219853791811964E-3</c:v>
                </c:pt>
                <c:pt idx="3812">
                  <c:v>-7.5901774111876794E-3</c:v>
                </c:pt>
                <c:pt idx="3813">
                  <c:v>-7.499148947796918E-3</c:v>
                </c:pt>
                <c:pt idx="3814">
                  <c:v>-7.3302460278517187E-3</c:v>
                </c:pt>
                <c:pt idx="3815">
                  <c:v>-7.0327176731849661E-3</c:v>
                </c:pt>
                <c:pt idx="3816">
                  <c:v>-6.6224702108925865E-3</c:v>
                </c:pt>
                <c:pt idx="3817">
                  <c:v>-6.3560545850641567E-3</c:v>
                </c:pt>
                <c:pt idx="3818">
                  <c:v>-6.3270036627108128E-3</c:v>
                </c:pt>
                <c:pt idx="3819">
                  <c:v>-6.2683278624899794E-3</c:v>
                </c:pt>
                <c:pt idx="3820">
                  <c:v>-6.1033094257518386E-3</c:v>
                </c:pt>
                <c:pt idx="3821">
                  <c:v>-6.0420037993072192E-3</c:v>
                </c:pt>
                <c:pt idx="3822">
                  <c:v>-6.2499405344999762E-3</c:v>
                </c:pt>
                <c:pt idx="3823">
                  <c:v>-6.3477815792362547E-3</c:v>
                </c:pt>
                <c:pt idx="3824">
                  <c:v>-6.3881911538316606E-3</c:v>
                </c:pt>
                <c:pt idx="3825">
                  <c:v>-6.3183247059275371E-3</c:v>
                </c:pt>
                <c:pt idx="3826">
                  <c:v>-6.2221219508452365E-3</c:v>
                </c:pt>
                <c:pt idx="3827">
                  <c:v>-6.0503902503929383E-3</c:v>
                </c:pt>
                <c:pt idx="3828">
                  <c:v>-5.8926657051872489E-3</c:v>
                </c:pt>
                <c:pt idx="3829">
                  <c:v>-6.1301490232336161E-3</c:v>
                </c:pt>
                <c:pt idx="3830">
                  <c:v>-6.7271947209241959E-3</c:v>
                </c:pt>
                <c:pt idx="3831">
                  <c:v>-7.4685166854930726E-3</c:v>
                </c:pt>
                <c:pt idx="3832">
                  <c:v>-8.154093133348056E-3</c:v>
                </c:pt>
                <c:pt idx="3833">
                  <c:v>-6.9513674389857748E-3</c:v>
                </c:pt>
                <c:pt idx="3834">
                  <c:v>-6.3407165074434464E-3</c:v>
                </c:pt>
                <c:pt idx="3835">
                  <c:v>-6.2878807755616601E-3</c:v>
                </c:pt>
                <c:pt idx="3836">
                  <c:v>-6.7299622592547148E-3</c:v>
                </c:pt>
                <c:pt idx="3837">
                  <c:v>-6.3856582525074939E-3</c:v>
                </c:pt>
                <c:pt idx="3838">
                  <c:v>-5.8468846939340648E-3</c:v>
                </c:pt>
                <c:pt idx="3839">
                  <c:v>-4.9675138345653177E-3</c:v>
                </c:pt>
                <c:pt idx="3840">
                  <c:v>-4.1847581029693963E-3</c:v>
                </c:pt>
                <c:pt idx="3841">
                  <c:v>-3.8881007770592826E-3</c:v>
                </c:pt>
                <c:pt idx="3842">
                  <c:v>-3.4221598866168946E-3</c:v>
                </c:pt>
                <c:pt idx="3843">
                  <c:v>-2.9907679528560467E-3</c:v>
                </c:pt>
                <c:pt idx="3844">
                  <c:v>-3.0189490057297387E-3</c:v>
                </c:pt>
                <c:pt idx="3845">
                  <c:v>-3.2717030219142169E-3</c:v>
                </c:pt>
                <c:pt idx="3846">
                  <c:v>-3.9431597141404455E-3</c:v>
                </c:pt>
                <c:pt idx="3847">
                  <c:v>-4.4838443446329496E-3</c:v>
                </c:pt>
                <c:pt idx="3848">
                  <c:v>-4.9094040370202367E-3</c:v>
                </c:pt>
                <c:pt idx="3849">
                  <c:v>-5.0387057848136482E-3</c:v>
                </c:pt>
                <c:pt idx="3850">
                  <c:v>-5.1850117672518851E-3</c:v>
                </c:pt>
                <c:pt idx="3851">
                  <c:v>-5.2907531152904998E-3</c:v>
                </c:pt>
                <c:pt idx="3852">
                  <c:v>-5.3476134916983983E-3</c:v>
                </c:pt>
                <c:pt idx="3853">
                  <c:v>-5.4621943374956964E-3</c:v>
                </c:pt>
                <c:pt idx="3854">
                  <c:v>-5.4858625330014097E-3</c:v>
                </c:pt>
                <c:pt idx="3855">
                  <c:v>-5.5912516535281667E-3</c:v>
                </c:pt>
                <c:pt idx="3856">
                  <c:v>-5.7950103845446433E-3</c:v>
                </c:pt>
                <c:pt idx="3857">
                  <c:v>-6.0241624862739764E-3</c:v>
                </c:pt>
                <c:pt idx="3858">
                  <c:v>-6.134971608468545E-3</c:v>
                </c:pt>
                <c:pt idx="3859">
                  <c:v>-6.2181512225273983E-3</c:v>
                </c:pt>
                <c:pt idx="3860">
                  <c:v>-6.2990329458998502E-3</c:v>
                </c:pt>
                <c:pt idx="3861">
                  <c:v>-6.3266004182398845E-3</c:v>
                </c:pt>
                <c:pt idx="3862">
                  <c:v>-6.3268204424789158E-3</c:v>
                </c:pt>
                <c:pt idx="3863">
                  <c:v>-7.1332859599773047E-3</c:v>
                </c:pt>
                <c:pt idx="3864">
                  <c:v>-8.088307340074553E-3</c:v>
                </c:pt>
                <c:pt idx="3865">
                  <c:v>-8.9231205060330242E-3</c:v>
                </c:pt>
                <c:pt idx="3866">
                  <c:v>-8.8230620232309966E-3</c:v>
                </c:pt>
                <c:pt idx="3867">
                  <c:v>-8.9301835750747426E-3</c:v>
                </c:pt>
                <c:pt idx="3868">
                  <c:v>-9.0456931814620646E-3</c:v>
                </c:pt>
                <c:pt idx="3869">
                  <c:v>-9.3786704045851418E-3</c:v>
                </c:pt>
                <c:pt idx="3870">
                  <c:v>-9.4118910614369045E-3</c:v>
                </c:pt>
                <c:pt idx="3871">
                  <c:v>-9.0545334209440158E-3</c:v>
                </c:pt>
                <c:pt idx="3872">
                  <c:v>-8.45636496775444E-3</c:v>
                </c:pt>
                <c:pt idx="3873">
                  <c:v>-7.9155203093164549E-3</c:v>
                </c:pt>
                <c:pt idx="3874">
                  <c:v>-7.6602078314083593E-3</c:v>
                </c:pt>
                <c:pt idx="3875">
                  <c:v>-7.5146349890898622E-3</c:v>
                </c:pt>
                <c:pt idx="3876">
                  <c:v>-6.8398011544794132E-3</c:v>
                </c:pt>
                <c:pt idx="3877">
                  <c:v>-6.2472042308366633E-3</c:v>
                </c:pt>
                <c:pt idx="3878">
                  <c:v>-5.6805851159803123E-3</c:v>
                </c:pt>
                <c:pt idx="3879">
                  <c:v>-5.3004350517350017E-3</c:v>
                </c:pt>
                <c:pt idx="3880">
                  <c:v>-5.5506911791123993E-3</c:v>
                </c:pt>
                <c:pt idx="3881">
                  <c:v>-6.4289994431689463E-3</c:v>
                </c:pt>
                <c:pt idx="3882">
                  <c:v>-7.3559252013364303E-3</c:v>
                </c:pt>
                <c:pt idx="3883">
                  <c:v>-8.0242925995858243E-3</c:v>
                </c:pt>
                <c:pt idx="3884">
                  <c:v>-8.752995723625253E-3</c:v>
                </c:pt>
                <c:pt idx="3885">
                  <c:v>-8.902512561803886E-3</c:v>
                </c:pt>
                <c:pt idx="3886">
                  <c:v>-8.180920480869722E-3</c:v>
                </c:pt>
                <c:pt idx="3887">
                  <c:v>-7.5306097627597371E-3</c:v>
                </c:pt>
                <c:pt idx="3888">
                  <c:v>-7.7122315665608728E-3</c:v>
                </c:pt>
                <c:pt idx="3889">
                  <c:v>-7.5829065338423795E-3</c:v>
                </c:pt>
                <c:pt idx="3890">
                  <c:v>-7.5422555994203513E-3</c:v>
                </c:pt>
                <c:pt idx="3891">
                  <c:v>-7.4231947486420296E-3</c:v>
                </c:pt>
                <c:pt idx="3892">
                  <c:v>-7.2383964696701771E-3</c:v>
                </c:pt>
                <c:pt idx="3893">
                  <c:v>-6.7821077714547533E-3</c:v>
                </c:pt>
                <c:pt idx="3894">
                  <c:v>-6.0507911557291785E-3</c:v>
                </c:pt>
                <c:pt idx="3895">
                  <c:v>-5.4987644962680212E-3</c:v>
                </c:pt>
                <c:pt idx="3896">
                  <c:v>-5.3302308385866724E-3</c:v>
                </c:pt>
                <c:pt idx="3897">
                  <c:v>-5.5482084315852647E-3</c:v>
                </c:pt>
                <c:pt idx="3898">
                  <c:v>-5.6462988804013604E-3</c:v>
                </c:pt>
                <c:pt idx="3899">
                  <c:v>-5.82255701592653E-3</c:v>
                </c:pt>
                <c:pt idx="3900">
                  <c:v>-5.9872405432212124E-3</c:v>
                </c:pt>
                <c:pt idx="3901">
                  <c:v>-6.3611747244430548E-3</c:v>
                </c:pt>
                <c:pt idx="3902">
                  <c:v>-6.6537312640653472E-3</c:v>
                </c:pt>
                <c:pt idx="3903">
                  <c:v>-6.9438896852484456E-3</c:v>
                </c:pt>
                <c:pt idx="3904">
                  <c:v>-7.1388404071677479E-3</c:v>
                </c:pt>
                <c:pt idx="3905">
                  <c:v>-7.2622725972090177E-3</c:v>
                </c:pt>
                <c:pt idx="3906">
                  <c:v>-7.3944447733844286E-3</c:v>
                </c:pt>
                <c:pt idx="3907">
                  <c:v>-7.4230659850384184E-3</c:v>
                </c:pt>
                <c:pt idx="3908">
                  <c:v>-7.3495249249185789E-3</c:v>
                </c:pt>
                <c:pt idx="3909">
                  <c:v>-7.2707791346217129E-3</c:v>
                </c:pt>
                <c:pt idx="3910">
                  <c:v>-7.149181067778271E-3</c:v>
                </c:pt>
                <c:pt idx="3911">
                  <c:v>-6.8111343290836431E-3</c:v>
                </c:pt>
                <c:pt idx="3912">
                  <c:v>-6.3535529871375195E-3</c:v>
                </c:pt>
                <c:pt idx="3913">
                  <c:v>-5.8510678266124935E-3</c:v>
                </c:pt>
                <c:pt idx="3914">
                  <c:v>-5.6091434963428614E-3</c:v>
                </c:pt>
                <c:pt idx="3915">
                  <c:v>-5.4936814059492207E-3</c:v>
                </c:pt>
                <c:pt idx="3916">
                  <c:v>-6.132779409149627E-3</c:v>
                </c:pt>
                <c:pt idx="3917">
                  <c:v>-6.890360384192243E-3</c:v>
                </c:pt>
                <c:pt idx="3918">
                  <c:v>-6.0306804537807301E-3</c:v>
                </c:pt>
                <c:pt idx="3919">
                  <c:v>-6.3820599915565225E-3</c:v>
                </c:pt>
                <c:pt idx="3920">
                  <c:v>-6.3564027253832072E-3</c:v>
                </c:pt>
                <c:pt idx="3921">
                  <c:v>-6.3305961196150166E-3</c:v>
                </c:pt>
                <c:pt idx="3922">
                  <c:v>-5.9717343988752768E-3</c:v>
                </c:pt>
                <c:pt idx="3923">
                  <c:v>-5.3634528777226527E-3</c:v>
                </c:pt>
                <c:pt idx="3924">
                  <c:v>-4.9244157646091361E-3</c:v>
                </c:pt>
                <c:pt idx="3925">
                  <c:v>-5.115504652846636E-3</c:v>
                </c:pt>
                <c:pt idx="3926">
                  <c:v>-5.5334161924494099E-3</c:v>
                </c:pt>
                <c:pt idx="3927">
                  <c:v>-5.6138729569397781E-3</c:v>
                </c:pt>
                <c:pt idx="3928">
                  <c:v>-5.7387113580249748E-3</c:v>
                </c:pt>
                <c:pt idx="3929">
                  <c:v>-5.514763896689796E-3</c:v>
                </c:pt>
                <c:pt idx="3930">
                  <c:v>-5.1049486880867922E-3</c:v>
                </c:pt>
                <c:pt idx="3931">
                  <c:v>-4.7640180461008194E-3</c:v>
                </c:pt>
                <c:pt idx="3932">
                  <c:v>-4.7512470248300635E-3</c:v>
                </c:pt>
                <c:pt idx="3933">
                  <c:v>-4.7378456976264367E-3</c:v>
                </c:pt>
                <c:pt idx="3934">
                  <c:v>-4.799343632838184E-3</c:v>
                </c:pt>
                <c:pt idx="3935">
                  <c:v>-4.8831130824486969E-3</c:v>
                </c:pt>
                <c:pt idx="3936">
                  <c:v>-4.7896537461851879E-3</c:v>
                </c:pt>
                <c:pt idx="3937">
                  <c:v>-4.163713726881452E-3</c:v>
                </c:pt>
                <c:pt idx="3938">
                  <c:v>-3.6826967215534551E-3</c:v>
                </c:pt>
                <c:pt idx="3939">
                  <c:v>-3.7468089867931618E-3</c:v>
                </c:pt>
                <c:pt idx="3940">
                  <c:v>-3.9527367507852049E-3</c:v>
                </c:pt>
                <c:pt idx="3941">
                  <c:v>-4.2108903834197093E-3</c:v>
                </c:pt>
                <c:pt idx="3942">
                  <c:v>-4.4723114295480981E-3</c:v>
                </c:pt>
                <c:pt idx="3943">
                  <c:v>-4.8918223927211252E-3</c:v>
                </c:pt>
                <c:pt idx="3944">
                  <c:v>-5.2183410541336399E-3</c:v>
                </c:pt>
                <c:pt idx="3945">
                  <c:v>-5.7219102781875019E-3</c:v>
                </c:pt>
                <c:pt idx="3946">
                  <c:v>-5.3450194531121627E-3</c:v>
                </c:pt>
                <c:pt idx="3947">
                  <c:v>-5.030568759537923E-3</c:v>
                </c:pt>
                <c:pt idx="3948">
                  <c:v>-5.1878522164276282E-3</c:v>
                </c:pt>
                <c:pt idx="3949">
                  <c:v>-4.8260736455846181E-3</c:v>
                </c:pt>
                <c:pt idx="3950">
                  <c:v>-4.4472272578973708E-3</c:v>
                </c:pt>
                <c:pt idx="3951">
                  <c:v>-3.9034178393547829E-3</c:v>
                </c:pt>
                <c:pt idx="3952">
                  <c:v>-3.7467061483968797E-3</c:v>
                </c:pt>
                <c:pt idx="3953">
                  <c:v>-3.8897738777369977E-3</c:v>
                </c:pt>
                <c:pt idx="3954">
                  <c:v>-4.4304288267977944E-3</c:v>
                </c:pt>
                <c:pt idx="3955">
                  <c:v>-4.6665206063251823E-3</c:v>
                </c:pt>
                <c:pt idx="3956">
                  <c:v>-4.4650171213614434E-3</c:v>
                </c:pt>
                <c:pt idx="3957">
                  <c:v>-4.2227392940461118E-3</c:v>
                </c:pt>
                <c:pt idx="3958">
                  <c:v>-4.0183450807955573E-3</c:v>
                </c:pt>
                <c:pt idx="3959">
                  <c:v>-3.951894839230358E-3</c:v>
                </c:pt>
                <c:pt idx="3960">
                  <c:v>-4.0078723628374042E-3</c:v>
                </c:pt>
                <c:pt idx="3961">
                  <c:v>-4.0801987577048331E-3</c:v>
                </c:pt>
                <c:pt idx="3962">
                  <c:v>-4.2763730467626051E-3</c:v>
                </c:pt>
                <c:pt idx="3963">
                  <c:v>-4.4218453240460892E-3</c:v>
                </c:pt>
                <c:pt idx="3964">
                  <c:v>-4.3226062157488655E-3</c:v>
                </c:pt>
                <c:pt idx="3965">
                  <c:v>-4.0138297915111813E-3</c:v>
                </c:pt>
                <c:pt idx="3966">
                  <c:v>-3.5563386907289203E-3</c:v>
                </c:pt>
                <c:pt idx="3967">
                  <c:v>-3.4838411267683281E-3</c:v>
                </c:pt>
                <c:pt idx="3968">
                  <c:v>-3.7011872258235906E-3</c:v>
                </c:pt>
                <c:pt idx="3969">
                  <c:v>-4.2015733619881063E-3</c:v>
                </c:pt>
                <c:pt idx="3970">
                  <c:v>-5.0281570600043098E-3</c:v>
                </c:pt>
                <c:pt idx="3971">
                  <c:v>-5.9783648468216865E-3</c:v>
                </c:pt>
                <c:pt idx="3972">
                  <c:v>-6.8061029446534601E-3</c:v>
                </c:pt>
                <c:pt idx="3973">
                  <c:v>-7.4883640046680897E-3</c:v>
                </c:pt>
                <c:pt idx="3974">
                  <c:v>-7.8706772874279803E-3</c:v>
                </c:pt>
                <c:pt idx="3975">
                  <c:v>-8.2946988106829198E-3</c:v>
                </c:pt>
                <c:pt idx="3976">
                  <c:v>-8.6649700230975457E-3</c:v>
                </c:pt>
                <c:pt idx="3977">
                  <c:v>-8.8851693626691604E-3</c:v>
                </c:pt>
                <c:pt idx="3978">
                  <c:v>-8.7770143389995798E-3</c:v>
                </c:pt>
                <c:pt idx="3979">
                  <c:v>-8.4115914193551838E-3</c:v>
                </c:pt>
                <c:pt idx="3980">
                  <c:v>-7.8291741262407708E-3</c:v>
                </c:pt>
                <c:pt idx="3981">
                  <c:v>-7.2212620126672396E-3</c:v>
                </c:pt>
                <c:pt idx="3982">
                  <c:v>-6.5302322085902713E-3</c:v>
                </c:pt>
                <c:pt idx="3983">
                  <c:v>-6.0076693889650938E-3</c:v>
                </c:pt>
                <c:pt idx="3984">
                  <c:v>-5.4954595273588765E-3</c:v>
                </c:pt>
                <c:pt idx="3985">
                  <c:v>-4.9708248977766191E-3</c:v>
                </c:pt>
                <c:pt idx="3986">
                  <c:v>-4.4715269775683396E-3</c:v>
                </c:pt>
                <c:pt idx="3987">
                  <c:v>-4.0038161675224511E-3</c:v>
                </c:pt>
                <c:pt idx="3988">
                  <c:v>-3.299623971996183E-3</c:v>
                </c:pt>
                <c:pt idx="3989">
                  <c:v>-2.7361395183210365E-3</c:v>
                </c:pt>
                <c:pt idx="3990">
                  <c:v>-2.2298960507806708E-3</c:v>
                </c:pt>
                <c:pt idx="3991">
                  <c:v>-2.2660398271321129E-3</c:v>
                </c:pt>
                <c:pt idx="3992">
                  <c:v>-2.7441838838328523E-3</c:v>
                </c:pt>
                <c:pt idx="3993">
                  <c:v>-2.9836997123019477E-3</c:v>
                </c:pt>
                <c:pt idx="3994">
                  <c:v>-3.1735123139609734E-3</c:v>
                </c:pt>
                <c:pt idx="3995">
                  <c:v>-3.3160707175431854E-3</c:v>
                </c:pt>
                <c:pt idx="3996">
                  <c:v>-3.4917472372293329E-3</c:v>
                </c:pt>
                <c:pt idx="3997">
                  <c:v>-4.1444055616489898E-3</c:v>
                </c:pt>
                <c:pt idx="3998">
                  <c:v>-4.822847191966434E-3</c:v>
                </c:pt>
                <c:pt idx="3999">
                  <c:v>-5.6695500649023905E-3</c:v>
                </c:pt>
                <c:pt idx="4000">
                  <c:v>-5.0246155928345363E-3</c:v>
                </c:pt>
                <c:pt idx="4001">
                  <c:v>-2.078905905549878E-3</c:v>
                </c:pt>
                <c:pt idx="4002">
                  <c:v>-2.3638724070606729E-4</c:v>
                </c:pt>
                <c:pt idx="4003">
                  <c:v>6.7433912938306018E-4</c:v>
                </c:pt>
                <c:pt idx="4004">
                  <c:v>5.3682959776670675E-5</c:v>
                </c:pt>
                <c:pt idx="4005">
                  <c:v>-7.7353401907452601E-4</c:v>
                </c:pt>
                <c:pt idx="4006">
                  <c:v>-1.5822190723375797E-3</c:v>
                </c:pt>
                <c:pt idx="4007">
                  <c:v>-2.3702229529480451E-3</c:v>
                </c:pt>
                <c:pt idx="4008">
                  <c:v>-2.7884373702353835E-3</c:v>
                </c:pt>
                <c:pt idx="4009">
                  <c:v>-3.2830990877127497E-3</c:v>
                </c:pt>
                <c:pt idx="4010">
                  <c:v>-2.9982328053746576E-3</c:v>
                </c:pt>
                <c:pt idx="4011">
                  <c:v>-3.0516869300854597E-3</c:v>
                </c:pt>
                <c:pt idx="4012">
                  <c:v>-3.2721051912372023E-3</c:v>
                </c:pt>
                <c:pt idx="4013">
                  <c:v>-3.1818462577129659E-3</c:v>
                </c:pt>
                <c:pt idx="4014">
                  <c:v>-2.4202072979993047E-3</c:v>
                </c:pt>
                <c:pt idx="4015">
                  <c:v>-2.1188124404188415E-3</c:v>
                </c:pt>
                <c:pt idx="4016">
                  <c:v>-1.6044077199516837E-3</c:v>
                </c:pt>
                <c:pt idx="4017">
                  <c:v>-9.7509365337948052E-4</c:v>
                </c:pt>
                <c:pt idx="4018">
                  <c:v>-6.3717067270819758E-4</c:v>
                </c:pt>
                <c:pt idx="4019">
                  <c:v>-2.5462289528764559E-4</c:v>
                </c:pt>
                <c:pt idx="4020">
                  <c:v>-2.9896373017876746E-4</c:v>
                </c:pt>
                <c:pt idx="4021">
                  <c:v>-3.8343232442134868E-4</c:v>
                </c:pt>
                <c:pt idx="4022">
                  <c:v>-4.0316307506227562E-4</c:v>
                </c:pt>
                <c:pt idx="4023">
                  <c:v>-3.6259514511658569E-4</c:v>
                </c:pt>
                <c:pt idx="4024">
                  <c:v>-6.8955450020539641E-4</c:v>
                </c:pt>
                <c:pt idx="4025">
                  <c:v>-1.2845078120735497E-3</c:v>
                </c:pt>
                <c:pt idx="4026">
                  <c:v>-1.8500786332455877E-3</c:v>
                </c:pt>
                <c:pt idx="4027">
                  <c:v>-2.6470299623033208E-3</c:v>
                </c:pt>
                <c:pt idx="4028">
                  <c:v>-3.3003697843023757E-3</c:v>
                </c:pt>
                <c:pt idx="4029">
                  <c:v>-3.6353115020549016E-3</c:v>
                </c:pt>
                <c:pt idx="4030">
                  <c:v>-3.5258139090197978E-3</c:v>
                </c:pt>
                <c:pt idx="4031">
                  <c:v>-3.9305393275059775E-3</c:v>
                </c:pt>
                <c:pt idx="4032">
                  <c:v>-4.4322158315458805E-3</c:v>
                </c:pt>
                <c:pt idx="4033">
                  <c:v>-5.1377738138344425E-3</c:v>
                </c:pt>
                <c:pt idx="4034">
                  <c:v>-5.6369951976299659E-3</c:v>
                </c:pt>
                <c:pt idx="4035">
                  <c:v>-5.8218048661001802E-3</c:v>
                </c:pt>
                <c:pt idx="4036">
                  <c:v>-5.8050051327036487E-3</c:v>
                </c:pt>
                <c:pt idx="4037">
                  <c:v>-5.7807262800830374E-3</c:v>
                </c:pt>
                <c:pt idx="4038">
                  <c:v>-6.0659866658257615E-3</c:v>
                </c:pt>
                <c:pt idx="4039">
                  <c:v>-5.9525110243127911E-3</c:v>
                </c:pt>
                <c:pt idx="4040">
                  <c:v>-6.9979452034030472E-3</c:v>
                </c:pt>
                <c:pt idx="4041">
                  <c:v>-6.8093119284651426E-3</c:v>
                </c:pt>
                <c:pt idx="4042">
                  <c:v>-6.5895908650078121E-3</c:v>
                </c:pt>
                <c:pt idx="4043">
                  <c:v>-6.7913408807333871E-3</c:v>
                </c:pt>
                <c:pt idx="4044">
                  <c:v>-8.6811767801118454E-3</c:v>
                </c:pt>
                <c:pt idx="4045">
                  <c:v>-8.5495094310343682E-3</c:v>
                </c:pt>
                <c:pt idx="4046">
                  <c:v>-8.4402840275176125E-3</c:v>
                </c:pt>
                <c:pt idx="4047">
                  <c:v>-8.2626881202229451E-3</c:v>
                </c:pt>
                <c:pt idx="4048">
                  <c:v>-7.9688735920302733E-3</c:v>
                </c:pt>
                <c:pt idx="4049">
                  <c:v>-7.6529520413366955E-3</c:v>
                </c:pt>
                <c:pt idx="4050">
                  <c:v>-7.5409739050237724E-3</c:v>
                </c:pt>
                <c:pt idx="4051">
                  <c:v>-7.6299991244089954E-3</c:v>
                </c:pt>
                <c:pt idx="4052">
                  <c:v>-8.056930309336156E-3</c:v>
                </c:pt>
                <c:pt idx="4053">
                  <c:v>-8.3964512409062698E-3</c:v>
                </c:pt>
                <c:pt idx="4054">
                  <c:v>-8.4631295030234352E-3</c:v>
                </c:pt>
                <c:pt idx="4055">
                  <c:v>-8.2037808118463548E-3</c:v>
                </c:pt>
                <c:pt idx="4056">
                  <c:v>-7.957031354402842E-3</c:v>
                </c:pt>
                <c:pt idx="4057">
                  <c:v>-6.359875442747253E-3</c:v>
                </c:pt>
                <c:pt idx="4058">
                  <c:v>-5.2280696380571394E-3</c:v>
                </c:pt>
                <c:pt idx="4059">
                  <c:v>-4.565821192736858E-3</c:v>
                </c:pt>
                <c:pt idx="4060">
                  <c:v>-4.3923613995650165E-3</c:v>
                </c:pt>
                <c:pt idx="4061">
                  <c:v>-4.4318905901066562E-3</c:v>
                </c:pt>
                <c:pt idx="4062">
                  <c:v>-4.4482909983889702E-3</c:v>
                </c:pt>
                <c:pt idx="4063">
                  <c:v>-4.1699271980289556E-3</c:v>
                </c:pt>
                <c:pt idx="4064">
                  <c:v>-3.4525107745887202E-3</c:v>
                </c:pt>
                <c:pt idx="4065">
                  <c:v>-2.7327023388203737E-3</c:v>
                </c:pt>
                <c:pt idx="4066">
                  <c:v>-2.5868490371812516E-3</c:v>
                </c:pt>
                <c:pt idx="4067">
                  <c:v>-2.487127824097427E-3</c:v>
                </c:pt>
                <c:pt idx="4068">
                  <c:v>-2.1478965465095042E-3</c:v>
                </c:pt>
                <c:pt idx="4069">
                  <c:v>-1.9001826223908214E-3</c:v>
                </c:pt>
                <c:pt idx="4070">
                  <c:v>-1.9518829816295435E-3</c:v>
                </c:pt>
                <c:pt idx="4071">
                  <c:v>-2.3664244395965438E-3</c:v>
                </c:pt>
                <c:pt idx="4072">
                  <c:v>-3.1079927490635538E-3</c:v>
                </c:pt>
                <c:pt idx="4073">
                  <c:v>-3.9143115250380254E-3</c:v>
                </c:pt>
                <c:pt idx="4074">
                  <c:v>-5.0561980660066242E-3</c:v>
                </c:pt>
                <c:pt idx="4075">
                  <c:v>-6.0593654091763757E-3</c:v>
                </c:pt>
                <c:pt idx="4076">
                  <c:v>-6.4155881169138205E-3</c:v>
                </c:pt>
                <c:pt idx="4077">
                  <c:v>-6.4792736718847065E-3</c:v>
                </c:pt>
                <c:pt idx="4078">
                  <c:v>-6.5220058893936663E-3</c:v>
                </c:pt>
                <c:pt idx="4079">
                  <c:v>-6.5408812472559693E-3</c:v>
                </c:pt>
                <c:pt idx="4080">
                  <c:v>-6.5120258326303634E-3</c:v>
                </c:pt>
                <c:pt idx="4081">
                  <c:v>-6.3997445224740794E-3</c:v>
                </c:pt>
                <c:pt idx="4082">
                  <c:v>-5.6459598259747772E-3</c:v>
                </c:pt>
                <c:pt idx="4083">
                  <c:v>-5.3126560907563224E-3</c:v>
                </c:pt>
                <c:pt idx="4084">
                  <c:v>-5.2078236492513388E-3</c:v>
                </c:pt>
                <c:pt idx="4085">
                  <c:v>-5.0198191975308198E-3</c:v>
                </c:pt>
                <c:pt idx="4086">
                  <c:v>-4.7352811568825426E-3</c:v>
                </c:pt>
                <c:pt idx="4087">
                  <c:v>-4.9337805553769905E-3</c:v>
                </c:pt>
                <c:pt idx="4088">
                  <c:v>-5.2092729122337669E-3</c:v>
                </c:pt>
                <c:pt idx="4089">
                  <c:v>-5.6720723737562657E-3</c:v>
                </c:pt>
                <c:pt idx="4090">
                  <c:v>-5.928595589754785E-3</c:v>
                </c:pt>
                <c:pt idx="4091">
                  <c:v>-5.829244677008281E-3</c:v>
                </c:pt>
                <c:pt idx="4092">
                  <c:v>-5.1087656437969224E-3</c:v>
                </c:pt>
                <c:pt idx="4093">
                  <c:v>-4.6841729683088544E-3</c:v>
                </c:pt>
                <c:pt idx="4094">
                  <c:v>-4.6147028237414197E-3</c:v>
                </c:pt>
                <c:pt idx="4095">
                  <c:v>-5.0194656966997984E-3</c:v>
                </c:pt>
                <c:pt idx="4096">
                  <c:v>-5.2663467386543823E-3</c:v>
                </c:pt>
                <c:pt idx="4097">
                  <c:v>-5.555830547043279E-3</c:v>
                </c:pt>
                <c:pt idx="4098">
                  <c:v>-5.8201563380614885E-3</c:v>
                </c:pt>
                <c:pt idx="4099">
                  <c:v>-6.2203063137577334E-3</c:v>
                </c:pt>
                <c:pt idx="4100">
                  <c:v>-6.727125782592794E-3</c:v>
                </c:pt>
                <c:pt idx="4101">
                  <c:v>-7.1012603798156458E-3</c:v>
                </c:pt>
                <c:pt idx="4102">
                  <c:v>-7.2313070647575303E-3</c:v>
                </c:pt>
                <c:pt idx="4103">
                  <c:v>-7.0186336635055272E-3</c:v>
                </c:pt>
                <c:pt idx="4104">
                  <c:v>-6.369625520460013E-3</c:v>
                </c:pt>
                <c:pt idx="4105">
                  <c:v>-5.5045662353547563E-3</c:v>
                </c:pt>
                <c:pt idx="4106">
                  <c:v>-5.0236952625437453E-3</c:v>
                </c:pt>
                <c:pt idx="4107">
                  <c:v>-4.8939821845339669E-3</c:v>
                </c:pt>
                <c:pt idx="4108">
                  <c:v>-4.3243757966621357E-3</c:v>
                </c:pt>
                <c:pt idx="4109">
                  <c:v>-5.0625836194238853E-3</c:v>
                </c:pt>
                <c:pt idx="4110">
                  <c:v>-5.9417071173452135E-3</c:v>
                </c:pt>
                <c:pt idx="4111">
                  <c:v>-6.6953019472959932E-3</c:v>
                </c:pt>
                <c:pt idx="4112">
                  <c:v>-6.3978386812471952E-3</c:v>
                </c:pt>
                <c:pt idx="4113">
                  <c:v>-7.1495790679321379E-3</c:v>
                </c:pt>
                <c:pt idx="4114">
                  <c:v>-7.5336037606339975E-3</c:v>
                </c:pt>
                <c:pt idx="4115">
                  <c:v>-7.8742385432592106E-3</c:v>
                </c:pt>
                <c:pt idx="4116">
                  <c:v>-7.6064407923558414E-3</c:v>
                </c:pt>
                <c:pt idx="4117">
                  <c:v>-7.9915548095588675E-3</c:v>
                </c:pt>
                <c:pt idx="4118">
                  <c:v>-8.0997526029460993E-3</c:v>
                </c:pt>
                <c:pt idx="4119">
                  <c:v>-8.0284082949707083E-3</c:v>
                </c:pt>
                <c:pt idx="4120">
                  <c:v>-7.7654908144791437E-3</c:v>
                </c:pt>
                <c:pt idx="4121">
                  <c:v>-7.7662000381119242E-3</c:v>
                </c:pt>
                <c:pt idx="4122">
                  <c:v>-8.2075330449977411E-3</c:v>
                </c:pt>
                <c:pt idx="4123">
                  <c:v>-8.5806398552380897E-3</c:v>
                </c:pt>
                <c:pt idx="4124">
                  <c:v>-8.8515696850976992E-3</c:v>
                </c:pt>
                <c:pt idx="4125">
                  <c:v>-8.7237579329093821E-3</c:v>
                </c:pt>
                <c:pt idx="4126">
                  <c:v>-8.4306256936315799E-3</c:v>
                </c:pt>
                <c:pt idx="4127">
                  <c:v>-7.9980562165651338E-3</c:v>
                </c:pt>
                <c:pt idx="4128">
                  <c:v>-7.7725749484478246E-3</c:v>
                </c:pt>
                <c:pt idx="4129">
                  <c:v>-7.5311714971667753E-3</c:v>
                </c:pt>
                <c:pt idx="4130">
                  <c:v>-7.2652952411001864E-3</c:v>
                </c:pt>
                <c:pt idx="4131">
                  <c:v>-7.1085605869755106E-3</c:v>
                </c:pt>
                <c:pt idx="4132">
                  <c:v>-7.1451565010358454E-3</c:v>
                </c:pt>
                <c:pt idx="4133">
                  <c:v>-7.3523915215145431E-3</c:v>
                </c:pt>
                <c:pt idx="4134">
                  <c:v>-7.6599572523963003E-3</c:v>
                </c:pt>
                <c:pt idx="4135">
                  <c:v>-7.9300990936624557E-3</c:v>
                </c:pt>
                <c:pt idx="4136">
                  <c:v>-8.1868789193652435E-3</c:v>
                </c:pt>
                <c:pt idx="4137">
                  <c:v>-8.3380356073901787E-3</c:v>
                </c:pt>
                <c:pt idx="4138">
                  <c:v>-9.1083014976873766E-3</c:v>
                </c:pt>
                <c:pt idx="4139">
                  <c:v>-9.0182289204043566E-3</c:v>
                </c:pt>
                <c:pt idx="4140">
                  <c:v>-8.6940122441388629E-3</c:v>
                </c:pt>
                <c:pt idx="4141">
                  <c:v>-8.4355505510206718E-3</c:v>
                </c:pt>
                <c:pt idx="4142">
                  <c:v>-1.0612799907623247E-2</c:v>
                </c:pt>
                <c:pt idx="4143">
                  <c:v>-9.8400557454984793E-3</c:v>
                </c:pt>
                <c:pt idx="4144">
                  <c:v>-8.88870968891569E-3</c:v>
                </c:pt>
                <c:pt idx="4145">
                  <c:v>-7.4029377603827672E-3</c:v>
                </c:pt>
                <c:pt idx="4146">
                  <c:v>-6.5421890827732886E-3</c:v>
                </c:pt>
                <c:pt idx="4147">
                  <c:v>-5.0210338541419319E-3</c:v>
                </c:pt>
                <c:pt idx="4148">
                  <c:v>-4.0279546240405304E-3</c:v>
                </c:pt>
                <c:pt idx="4149">
                  <c:v>-3.2693187218758102E-3</c:v>
                </c:pt>
                <c:pt idx="4150">
                  <c:v>-4.0989290222512784E-3</c:v>
                </c:pt>
                <c:pt idx="4151">
                  <c:v>-4.9114508685774647E-3</c:v>
                </c:pt>
                <c:pt idx="4152">
                  <c:v>-5.480377326583955E-3</c:v>
                </c:pt>
                <c:pt idx="4153">
                  <c:v>-6.0583403647090327E-3</c:v>
                </c:pt>
                <c:pt idx="4154">
                  <c:v>-6.8347697251735801E-3</c:v>
                </c:pt>
                <c:pt idx="4155">
                  <c:v>-7.7394822681382232E-3</c:v>
                </c:pt>
                <c:pt idx="4156">
                  <c:v>-8.4155149532298117E-3</c:v>
                </c:pt>
                <c:pt idx="4157">
                  <c:v>-8.8149869473600276E-3</c:v>
                </c:pt>
                <c:pt idx="4158">
                  <c:v>-9.1218975400726016E-3</c:v>
                </c:pt>
                <c:pt idx="4159">
                  <c:v>-9.3750810976766814E-3</c:v>
                </c:pt>
                <c:pt idx="4160">
                  <c:v>-9.4595646766773289E-3</c:v>
                </c:pt>
                <c:pt idx="4161">
                  <c:v>-9.327207589161654E-3</c:v>
                </c:pt>
                <c:pt idx="4162">
                  <c:v>-8.8295759442124765E-3</c:v>
                </c:pt>
                <c:pt idx="4163">
                  <c:v>-8.484156494869572E-3</c:v>
                </c:pt>
                <c:pt idx="4164">
                  <c:v>-8.3731134312422725E-3</c:v>
                </c:pt>
                <c:pt idx="4165">
                  <c:v>-8.4211410339506357E-3</c:v>
                </c:pt>
                <c:pt idx="4166">
                  <c:v>-8.6202516347792524E-3</c:v>
                </c:pt>
                <c:pt idx="4167">
                  <c:v>-8.9471214638318954E-3</c:v>
                </c:pt>
                <c:pt idx="4168">
                  <c:v>-8.5902026182724991E-3</c:v>
                </c:pt>
                <c:pt idx="4169">
                  <c:v>-8.8787684891366708E-3</c:v>
                </c:pt>
                <c:pt idx="4170">
                  <c:v>-9.0632077852170739E-3</c:v>
                </c:pt>
                <c:pt idx="4171">
                  <c:v>-9.0783502665261716E-3</c:v>
                </c:pt>
                <c:pt idx="4172">
                  <c:v>-8.9164730286637878E-3</c:v>
                </c:pt>
                <c:pt idx="4173">
                  <c:v>-8.4405445480597516E-3</c:v>
                </c:pt>
                <c:pt idx="4174">
                  <c:v>-6.8667151989934144E-3</c:v>
                </c:pt>
                <c:pt idx="4175">
                  <c:v>1.3069871178954598E-4</c:v>
                </c:pt>
                <c:pt idx="4176">
                  <c:v>4.722304006385844E-2</c:v>
                </c:pt>
                <c:pt idx="4177">
                  <c:v>6.6189018524871038E-2</c:v>
                </c:pt>
                <c:pt idx="4178">
                  <c:v>6.8236724064720478E-2</c:v>
                </c:pt>
                <c:pt idx="4179">
                  <c:v>7.6727138721048277E-2</c:v>
                </c:pt>
                <c:pt idx="4180">
                  <c:v>8.860066144337643E-2</c:v>
                </c:pt>
                <c:pt idx="4181">
                  <c:v>9.7714376462394406E-2</c:v>
                </c:pt>
                <c:pt idx="4182">
                  <c:v>9.8684083265196426E-2</c:v>
                </c:pt>
                <c:pt idx="4183">
                  <c:v>9.8607912242919593E-2</c:v>
                </c:pt>
                <c:pt idx="4184">
                  <c:v>9.8557094575237925E-2</c:v>
                </c:pt>
                <c:pt idx="4185">
                  <c:v>9.9151421612982266E-2</c:v>
                </c:pt>
                <c:pt idx="4186">
                  <c:v>0.1000729792344594</c:v>
                </c:pt>
                <c:pt idx="4187">
                  <c:v>0.10113816493727962</c:v>
                </c:pt>
                <c:pt idx="4188">
                  <c:v>0.10230097843758444</c:v>
                </c:pt>
                <c:pt idx="4189">
                  <c:v>0.1038848623520221</c:v>
                </c:pt>
                <c:pt idx="4190">
                  <c:v>0.10584618676503735</c:v>
                </c:pt>
                <c:pt idx="4191">
                  <c:v>0.10834079808474777</c:v>
                </c:pt>
                <c:pt idx="4192">
                  <c:v>0.10973176340039358</c:v>
                </c:pt>
                <c:pt idx="4193">
                  <c:v>0.11044038380115336</c:v>
                </c:pt>
                <c:pt idx="4194">
                  <c:v>0.1104833076343542</c:v>
                </c:pt>
                <c:pt idx="4195">
                  <c:v>0.11053062712037676</c:v>
                </c:pt>
                <c:pt idx="4196">
                  <c:v>0.11050062794601294</c:v>
                </c:pt>
                <c:pt idx="4197">
                  <c:v>0.11039245907920012</c:v>
                </c:pt>
                <c:pt idx="4198">
                  <c:v>0.11066923110918964</c:v>
                </c:pt>
                <c:pt idx="4199">
                  <c:v>0.11069651978537388</c:v>
                </c:pt>
                <c:pt idx="4200">
                  <c:v>0.11072018666711585</c:v>
                </c:pt>
                <c:pt idx="4201">
                  <c:v>0.11062093220630907</c:v>
                </c:pt>
                <c:pt idx="4202">
                  <c:v>0.11062427543621355</c:v>
                </c:pt>
                <c:pt idx="4203">
                  <c:v>0.11103557123349735</c:v>
                </c:pt>
                <c:pt idx="4204">
                  <c:v>0.11071115167942201</c:v>
                </c:pt>
                <c:pt idx="4205">
                  <c:v>0.11278147135685987</c:v>
                </c:pt>
                <c:pt idx="4206">
                  <c:v>0.10149786847521901</c:v>
                </c:pt>
                <c:pt idx="4207">
                  <c:v>9.0591203893658934E-2</c:v>
                </c:pt>
                <c:pt idx="4208">
                  <c:v>8.9355743933218698E-2</c:v>
                </c:pt>
                <c:pt idx="4209">
                  <c:v>8.0839874151257901E-2</c:v>
                </c:pt>
                <c:pt idx="4210">
                  <c:v>6.2648627958283826E-2</c:v>
                </c:pt>
                <c:pt idx="4211">
                  <c:v>3.5554670583045352E-2</c:v>
                </c:pt>
                <c:pt idx="4212">
                  <c:v>2.3463997841082898E-2</c:v>
                </c:pt>
                <c:pt idx="4213">
                  <c:v>1.409234936515375E-2</c:v>
                </c:pt>
                <c:pt idx="4214">
                  <c:v>3.9927353404304675E-3</c:v>
                </c:pt>
                <c:pt idx="4215">
                  <c:v>2.0120009622249624E-3</c:v>
                </c:pt>
                <c:pt idx="4216">
                  <c:v>6.5490931233958525E-4</c:v>
                </c:pt>
                <c:pt idx="4217">
                  <c:v>6.5436111449332704E-4</c:v>
                </c:pt>
                <c:pt idx="4218">
                  <c:v>6.3933845693244689E-4</c:v>
                </c:pt>
                <c:pt idx="4219">
                  <c:v>6.1446054364732512E-4</c:v>
                </c:pt>
                <c:pt idx="4220">
                  <c:v>6.1445639303974342E-4</c:v>
                </c:pt>
                <c:pt idx="4221">
                  <c:v>6.1446252258636814E-4</c:v>
                </c:pt>
                <c:pt idx="4222">
                  <c:v>6.279953860341877E-4</c:v>
                </c:pt>
                <c:pt idx="4223">
                  <c:v>5.9046066214318502E-4</c:v>
                </c:pt>
                <c:pt idx="4224">
                  <c:v>5.829157608440498E-4</c:v>
                </c:pt>
                <c:pt idx="4225">
                  <c:v>5.611306137131058E-4</c:v>
                </c:pt>
                <c:pt idx="4226">
                  <c:v>5.6212405946632217E-4</c:v>
                </c:pt>
                <c:pt idx="4227">
                  <c:v>5.6215711668854346E-4</c:v>
                </c:pt>
                <c:pt idx="4228">
                  <c:v>5.2116522763087734E-4</c:v>
                </c:pt>
                <c:pt idx="4229">
                  <c:v>4.8510236468167505E-4</c:v>
                </c:pt>
                <c:pt idx="4230">
                  <c:v>4.4410816415774547E-4</c:v>
                </c:pt>
                <c:pt idx="4231">
                  <c:v>4.8615337062460378E-4</c:v>
                </c:pt>
                <c:pt idx="4232">
                  <c:v>4.8608364891483864E-4</c:v>
                </c:pt>
                <c:pt idx="4233">
                  <c:v>4.9677961498632666E-4</c:v>
                </c:pt>
                <c:pt idx="4234">
                  <c:v>5.3771057577197193E-4</c:v>
                </c:pt>
                <c:pt idx="4235">
                  <c:v>5.2598686576128101E-4</c:v>
                </c:pt>
                <c:pt idx="4236">
                  <c:v>5.2586106254280619E-4</c:v>
                </c:pt>
                <c:pt idx="4237">
                  <c:v>5.2571044189190131E-4</c:v>
                </c:pt>
                <c:pt idx="4238">
                  <c:v>5.2531821508001672E-4</c:v>
                </c:pt>
                <c:pt idx="4239">
                  <c:v>5.2511180761193065E-4</c:v>
                </c:pt>
                <c:pt idx="4240">
                  <c:v>5.123030564771181E-4</c:v>
                </c:pt>
                <c:pt idx="4241">
                  <c:v>5.1187036550317839E-4</c:v>
                </c:pt>
                <c:pt idx="4242">
                  <c:v>5.2378628387032291E-4</c:v>
                </c:pt>
                <c:pt idx="4243">
                  <c:v>5.2256926209535981E-4</c:v>
                </c:pt>
                <c:pt idx="4244">
                  <c:v>5.2244094974390385E-4</c:v>
                </c:pt>
                <c:pt idx="4245">
                  <c:v>5.2082603568446369E-4</c:v>
                </c:pt>
                <c:pt idx="4246">
                  <c:v>4.8272299295543797E-4</c:v>
                </c:pt>
                <c:pt idx="4247">
                  <c:v>4.825672159262853E-4</c:v>
                </c:pt>
                <c:pt idx="4248">
                  <c:v>5.1611684040816467E-4</c:v>
                </c:pt>
                <c:pt idx="4249">
                  <c:v>5.1593616210144581E-4</c:v>
                </c:pt>
                <c:pt idx="4250">
                  <c:v>5.1302809468023773E-4</c:v>
                </c:pt>
                <c:pt idx="4251">
                  <c:v>5.1289595675485522E-4</c:v>
                </c:pt>
                <c:pt idx="4252">
                  <c:v>5.0260787323275224E-4</c:v>
                </c:pt>
                <c:pt idx="4253">
                  <c:v>4.9963837497839019E-4</c:v>
                </c:pt>
                <c:pt idx="4254">
                  <c:v>4.9955084175253462E-4</c:v>
                </c:pt>
                <c:pt idx="4255">
                  <c:v>4.8269386693860009E-4</c:v>
                </c:pt>
                <c:pt idx="4256">
                  <c:v>4.8260669546603649E-4</c:v>
                </c:pt>
                <c:pt idx="4257">
                  <c:v>4.7868094249278742E-4</c:v>
                </c:pt>
                <c:pt idx="4258">
                  <c:v>5.0479970563004854E-4</c:v>
                </c:pt>
                <c:pt idx="4259">
                  <c:v>4.9932884642295934E-4</c:v>
                </c:pt>
                <c:pt idx="4260">
                  <c:v>4.9932410757193388E-4</c:v>
                </c:pt>
                <c:pt idx="4261">
                  <c:v>4.9932211551153476E-4</c:v>
                </c:pt>
                <c:pt idx="4262">
                  <c:v>4.9932311951210006E-4</c:v>
                </c:pt>
                <c:pt idx="4263">
                  <c:v>4.9156624993468062E-4</c:v>
                </c:pt>
                <c:pt idx="4264">
                  <c:v>4.366910552492589E-4</c:v>
                </c:pt>
                <c:pt idx="4265">
                  <c:v>4.2933916569626979E-4</c:v>
                </c:pt>
                <c:pt idx="4266">
                  <c:v>4.2133932973645229E-4</c:v>
                </c:pt>
                <c:pt idx="4267">
                  <c:v>4.4045290452771676E-4</c:v>
                </c:pt>
                <c:pt idx="4268">
                  <c:v>4.7221598325951271E-4</c:v>
                </c:pt>
                <c:pt idx="4269">
                  <c:v>4.6942372506921854E-4</c:v>
                </c:pt>
                <c:pt idx="4270">
                  <c:v>4.6942602305836327E-4</c:v>
                </c:pt>
                <c:pt idx="4271">
                  <c:v>4.7800433721325724E-4</c:v>
                </c:pt>
                <c:pt idx="4272">
                  <c:v>4.7222681711968958E-4</c:v>
                </c:pt>
                <c:pt idx="4273">
                  <c:v>4.7983974018419234E-4</c:v>
                </c:pt>
                <c:pt idx="4274">
                  <c:v>4.7223056851907299E-4</c:v>
                </c:pt>
                <c:pt idx="4275">
                  <c:v>4.7223259069071412E-4</c:v>
                </c:pt>
                <c:pt idx="4276">
                  <c:v>4.4444733706118479E-4</c:v>
                </c:pt>
                <c:pt idx="4277">
                  <c:v>4.7223900606958494E-4</c:v>
                </c:pt>
                <c:pt idx="4278">
                  <c:v>4.4047752684702856E-4</c:v>
                </c:pt>
                <c:pt idx="4279">
                  <c:v>4.4568281954310588E-4</c:v>
                </c:pt>
                <c:pt idx="4280">
                  <c:v>4.503397080600249E-4</c:v>
                </c:pt>
                <c:pt idx="4281">
                  <c:v>4.602289139484199E-4</c:v>
                </c:pt>
                <c:pt idx="4282">
                  <c:v>4.6474232835290837E-4</c:v>
                </c:pt>
                <c:pt idx="4283">
                  <c:v>4.8599372923380371E-4</c:v>
                </c:pt>
                <c:pt idx="4284">
                  <c:v>5.183609628612387E-4</c:v>
                </c:pt>
                <c:pt idx="4285">
                  <c:v>5.1836046548902552E-4</c:v>
                </c:pt>
                <c:pt idx="4286">
                  <c:v>5.2194507980932517E-4</c:v>
                </c:pt>
                <c:pt idx="4287">
                  <c:v>5.2508844610522454E-4</c:v>
                </c:pt>
                <c:pt idx="4288">
                  <c:v>4.9138281107819165E-4</c:v>
                </c:pt>
                <c:pt idx="4289">
                  <c:v>5.0807990137009308E-4</c:v>
                </c:pt>
                <c:pt idx="4290">
                  <c:v>5.1749988294243991E-4</c:v>
                </c:pt>
                <c:pt idx="4291">
                  <c:v>4.8258229723111354E-4</c:v>
                </c:pt>
                <c:pt idx="4292">
                  <c:v>4.6591126367008843E-4</c:v>
                </c:pt>
                <c:pt idx="4293">
                  <c:v>4.6755338112330447E-4</c:v>
                </c:pt>
                <c:pt idx="4294">
                  <c:v>4.6754965491306507E-4</c:v>
                </c:pt>
                <c:pt idx="4295">
                  <c:v>4.6754513239120849E-4</c:v>
                </c:pt>
                <c:pt idx="4296">
                  <c:v>4.6871430360617559E-4</c:v>
                </c:pt>
                <c:pt idx="4297">
                  <c:v>4.2549321485032952E-4</c:v>
                </c:pt>
                <c:pt idx="4298">
                  <c:v>4.0864521553994658E-4</c:v>
                </c:pt>
                <c:pt idx="4299">
                  <c:v>3.9598637141247768E-4</c:v>
                </c:pt>
                <c:pt idx="4300">
                  <c:v>3.991102398017853E-4</c:v>
                </c:pt>
                <c:pt idx="4301">
                  <c:v>4.0149575714559988E-4</c:v>
                </c:pt>
                <c:pt idx="4302">
                  <c:v>4.0515219492864553E-4</c:v>
                </c:pt>
                <c:pt idx="4303">
                  <c:v>4.0911339694348704E-4</c:v>
                </c:pt>
                <c:pt idx="4304">
                  <c:v>4.1330733773294E-4</c:v>
                </c:pt>
                <c:pt idx="4305">
                  <c:v>4.1757208865156396E-4</c:v>
                </c:pt>
                <c:pt idx="4306">
                  <c:v>4.6454958541076015E-4</c:v>
                </c:pt>
                <c:pt idx="4307">
                  <c:v>4.7405871021795782E-4</c:v>
                </c:pt>
                <c:pt idx="4308">
                  <c:v>5.1633515049421771E-4</c:v>
                </c:pt>
                <c:pt idx="4309">
                  <c:v>5.5485638917946464E-4</c:v>
                </c:pt>
                <c:pt idx="4310">
                  <c:v>5.758817880742855E-4</c:v>
                </c:pt>
                <c:pt idx="4311">
                  <c:v>5.6106883380602863E-4</c:v>
                </c:pt>
                <c:pt idx="4312">
                  <c:v>5.6459307311023245E-4</c:v>
                </c:pt>
                <c:pt idx="4313">
                  <c:v>6.219498948783535E-4</c:v>
                </c:pt>
                <c:pt idx="4314">
                  <c:v>5.7998967884071979E-4</c:v>
                </c:pt>
                <c:pt idx="4315">
                  <c:v>5.8254799946955984E-4</c:v>
                </c:pt>
                <c:pt idx="4316">
                  <c:v>5.8393398808650576E-4</c:v>
                </c:pt>
                <c:pt idx="4317">
                  <c:v>5.8464468593662298E-4</c:v>
                </c:pt>
                <c:pt idx="4318">
                  <c:v>5.809813542826186E-4</c:v>
                </c:pt>
                <c:pt idx="4319">
                  <c:v>6.0042038333143447E-4</c:v>
                </c:pt>
                <c:pt idx="4320">
                  <c:v>5.7448675016210976E-4</c:v>
                </c:pt>
                <c:pt idx="4321">
                  <c:v>5.7243233913756449E-4</c:v>
                </c:pt>
                <c:pt idx="4322">
                  <c:v>5.6304694070383383E-4</c:v>
                </c:pt>
                <c:pt idx="4323">
                  <c:v>5.6069974071810936E-4</c:v>
                </c:pt>
                <c:pt idx="4324">
                  <c:v>5.8335632353183147E-4</c:v>
                </c:pt>
                <c:pt idx="4325">
                  <c:v>5.7460542213860549E-4</c:v>
                </c:pt>
                <c:pt idx="4326">
                  <c:v>5.7232157529067316E-4</c:v>
                </c:pt>
                <c:pt idx="4327">
                  <c:v>5.631495767611397E-4</c:v>
                </c:pt>
                <c:pt idx="4328">
                  <c:v>5.558584951884238E-4</c:v>
                </c:pt>
                <c:pt idx="4329">
                  <c:v>5.5656951083256064E-4</c:v>
                </c:pt>
                <c:pt idx="4330">
                  <c:v>5.5733497439226993E-4</c:v>
                </c:pt>
                <c:pt idx="4331">
                  <c:v>5.5881419614274347E-4</c:v>
                </c:pt>
                <c:pt idx="4332">
                  <c:v>5.5995467894755582E-4</c:v>
                </c:pt>
                <c:pt idx="4333">
                  <c:v>5.8668896926076239E-4</c:v>
                </c:pt>
                <c:pt idx="4334">
                  <c:v>6.1047940123835746E-4</c:v>
                </c:pt>
                <c:pt idx="4335">
                  <c:v>6.1135079491254603E-4</c:v>
                </c:pt>
                <c:pt idx="4336">
                  <c:v>5.8919481369599938E-4</c:v>
                </c:pt>
                <c:pt idx="4337">
                  <c:v>5.6377352637684982E-4</c:v>
                </c:pt>
                <c:pt idx="4338">
                  <c:v>5.45151377121198E-4</c:v>
                </c:pt>
                <c:pt idx="4339">
                  <c:v>5.1762265562440592E-4</c:v>
                </c:pt>
                <c:pt idx="4340">
                  <c:v>4.9474432823404301E-4</c:v>
                </c:pt>
                <c:pt idx="4341">
                  <c:v>4.9396888323099985E-4</c:v>
                </c:pt>
                <c:pt idx="4342">
                  <c:v>5.0155953700251835E-4</c:v>
                </c:pt>
                <c:pt idx="4343">
                  <c:v>4.2922418601468951E-4</c:v>
                </c:pt>
                <c:pt idx="4344">
                  <c:v>4.2072267088340027E-4</c:v>
                </c:pt>
                <c:pt idx="4345">
                  <c:v>4.205723812168571E-4</c:v>
                </c:pt>
                <c:pt idx="4346">
                  <c:v>4.203712724055153E-4</c:v>
                </c:pt>
                <c:pt idx="4347">
                  <c:v>4.2899954241731381E-4</c:v>
                </c:pt>
                <c:pt idx="4348">
                  <c:v>4.2951610066967833E-4</c:v>
                </c:pt>
                <c:pt idx="4349">
                  <c:v>3.9196953510364779E-4</c:v>
                </c:pt>
                <c:pt idx="4350">
                  <c:v>3.9165895466907233E-4</c:v>
                </c:pt>
                <c:pt idx="4351">
                  <c:v>3.9200453481097561E-4</c:v>
                </c:pt>
                <c:pt idx="4352">
                  <c:v>3.9997210191312075E-4</c:v>
                </c:pt>
                <c:pt idx="4353">
                  <c:v>4.1088746549697465E-4</c:v>
                </c:pt>
                <c:pt idx="4354">
                  <c:v>3.8335338000654567E-4</c:v>
                </c:pt>
                <c:pt idx="4355">
                  <c:v>3.830831996564133E-4</c:v>
                </c:pt>
                <c:pt idx="4356">
                  <c:v>3.8269359653627397E-4</c:v>
                </c:pt>
                <c:pt idx="4357">
                  <c:v>3.8242438733161022E-4</c:v>
                </c:pt>
                <c:pt idx="4358">
                  <c:v>3.9131918474435176E-4</c:v>
                </c:pt>
                <c:pt idx="4359">
                  <c:v>3.8763414951340592E-4</c:v>
                </c:pt>
                <c:pt idx="4360">
                  <c:v>3.9498062965553243E-4</c:v>
                </c:pt>
                <c:pt idx="4361">
                  <c:v>3.8284071689179914E-4</c:v>
                </c:pt>
                <c:pt idx="4362">
                  <c:v>3.9707881478751001E-4</c:v>
                </c:pt>
                <c:pt idx="4363">
                  <c:v>4.2062409566534118E-4</c:v>
                </c:pt>
                <c:pt idx="4364">
                  <c:v>4.5734954621844468E-4</c:v>
                </c:pt>
                <c:pt idx="4365">
                  <c:v>4.5920527462467962E-4</c:v>
                </c:pt>
                <c:pt idx="4366">
                  <c:v>4.7734707523162278E-4</c:v>
                </c:pt>
                <c:pt idx="4367">
                  <c:v>4.7935129902314775E-4</c:v>
                </c:pt>
                <c:pt idx="4368">
                  <c:v>4.7972823746593105E-4</c:v>
                </c:pt>
                <c:pt idx="4369">
                  <c:v>4.7943850827427819E-4</c:v>
                </c:pt>
                <c:pt idx="4370">
                  <c:v>4.7970224142771163E-4</c:v>
                </c:pt>
                <c:pt idx="4371">
                  <c:v>4.7907355034229842E-4</c:v>
                </c:pt>
                <c:pt idx="4372">
                  <c:v>4.6030180975739507E-4</c:v>
                </c:pt>
                <c:pt idx="4373">
                  <c:v>4.5830031602682133E-4</c:v>
                </c:pt>
                <c:pt idx="4374">
                  <c:v>4.6169619713278117E-4</c:v>
                </c:pt>
                <c:pt idx="4375">
                  <c:v>4.6966278946562756E-4</c:v>
                </c:pt>
                <c:pt idx="4376">
                  <c:v>5.0036464160971219E-4</c:v>
                </c:pt>
                <c:pt idx="4377">
                  <c:v>5.2510493315308798E-4</c:v>
                </c:pt>
                <c:pt idx="4378">
                  <c:v>5.2886391636081489E-4</c:v>
                </c:pt>
                <c:pt idx="4379">
                  <c:v>5.2801701246675276E-4</c:v>
                </c:pt>
                <c:pt idx="4380">
                  <c:v>5.2147901156463254E-4</c:v>
                </c:pt>
                <c:pt idx="4381">
                  <c:v>5.2208380485623299E-4</c:v>
                </c:pt>
                <c:pt idx="4382">
                  <c:v>4.9788891120695748E-4</c:v>
                </c:pt>
                <c:pt idx="4383">
                  <c:v>5.0588132490501415E-4</c:v>
                </c:pt>
                <c:pt idx="4384">
                  <c:v>5.0553675058121351E-4</c:v>
                </c:pt>
                <c:pt idx="4385">
                  <c:v>5.2225396142809141E-4</c:v>
                </c:pt>
                <c:pt idx="4386">
                  <c:v>5.4416826207706321E-4</c:v>
                </c:pt>
                <c:pt idx="4387">
                  <c:v>5.5640449130934611E-4</c:v>
                </c:pt>
                <c:pt idx="4388">
                  <c:v>5.6003077425469388E-4</c:v>
                </c:pt>
                <c:pt idx="4389">
                  <c:v>6.0434777616669654E-4</c:v>
                </c:pt>
                <c:pt idx="4390">
                  <c:v>6.0579862777526499E-4</c:v>
                </c:pt>
                <c:pt idx="4391">
                  <c:v>5.9534039462578407E-4</c:v>
                </c:pt>
                <c:pt idx="4392">
                  <c:v>5.5584990578815246E-4</c:v>
                </c:pt>
                <c:pt idx="4393">
                  <c:v>5.4211149857060447E-4</c:v>
                </c:pt>
                <c:pt idx="4394">
                  <c:v>5.3238398192636085E-4</c:v>
                </c:pt>
                <c:pt idx="4395">
                  <c:v>5.3556455505933572E-4</c:v>
                </c:pt>
                <c:pt idx="4396">
                  <c:v>5.5282236685486573E-4</c:v>
                </c:pt>
                <c:pt idx="4397">
                  <c:v>5.5603347461494722E-4</c:v>
                </c:pt>
                <c:pt idx="4398">
                  <c:v>5.6022397840900864E-4</c:v>
                </c:pt>
                <c:pt idx="4399">
                  <c:v>5.6292756897780656E-4</c:v>
                </c:pt>
                <c:pt idx="4400">
                  <c:v>5.7840395209007834E-4</c:v>
                </c:pt>
                <c:pt idx="4401">
                  <c:v>5.8363399527825127E-4</c:v>
                </c:pt>
                <c:pt idx="4402">
                  <c:v>5.8739371821905147E-4</c:v>
                </c:pt>
                <c:pt idx="4403">
                  <c:v>5.9499111625159538E-4</c:v>
                </c:pt>
                <c:pt idx="4404">
                  <c:v>6.6601719787693996E-4</c:v>
                </c:pt>
                <c:pt idx="4405">
                  <c:v>6.7833566678416148E-4</c:v>
                </c:pt>
                <c:pt idx="4406">
                  <c:v>6.7816799288925305E-4</c:v>
                </c:pt>
                <c:pt idx="4407">
                  <c:v>6.4136400194193441E-4</c:v>
                </c:pt>
                <c:pt idx="4408">
                  <c:v>6.5164451932224433E-4</c:v>
                </c:pt>
                <c:pt idx="4409">
                  <c:v>6.3750241560487394E-4</c:v>
                </c:pt>
                <c:pt idx="4410">
                  <c:v>6.5991906089284428E-4</c:v>
                </c:pt>
                <c:pt idx="4411">
                  <c:v>6.86490223907816E-4</c:v>
                </c:pt>
                <c:pt idx="4412">
                  <c:v>6.8916538687486585E-4</c:v>
                </c:pt>
                <c:pt idx="4413">
                  <c:v>6.6955331805528364E-4</c:v>
                </c:pt>
                <c:pt idx="4414">
                  <c:v>6.7142377950777407E-4</c:v>
                </c:pt>
                <c:pt idx="4415">
                  <c:v>6.7245597761982849E-4</c:v>
                </c:pt>
                <c:pt idx="4416">
                  <c:v>6.0587010631244181E-4</c:v>
                </c:pt>
                <c:pt idx="4417">
                  <c:v>6.0606399840314434E-4</c:v>
                </c:pt>
                <c:pt idx="4418">
                  <c:v>6.064642002923268E-4</c:v>
                </c:pt>
                <c:pt idx="4419">
                  <c:v>6.7751968119431375E-4</c:v>
                </c:pt>
                <c:pt idx="4420">
                  <c:v>6.7525703202496467E-4</c:v>
                </c:pt>
                <c:pt idx="4421">
                  <c:v>6.8557271755937386E-4</c:v>
                </c:pt>
                <c:pt idx="4422">
                  <c:v>6.8185591722729302E-4</c:v>
                </c:pt>
                <c:pt idx="4423">
                  <c:v>6.7058167948935623E-4</c:v>
                </c:pt>
                <c:pt idx="4424">
                  <c:v>6.7183403078190649E-4</c:v>
                </c:pt>
                <c:pt idx="4425">
                  <c:v>6.7208143942306872E-4</c:v>
                </c:pt>
                <c:pt idx="4426">
                  <c:v>6.8199471617058909E-4</c:v>
                </c:pt>
                <c:pt idx="4427">
                  <c:v>6.8055468829142526E-4</c:v>
                </c:pt>
                <c:pt idx="4428">
                  <c:v>6.8033069535150135E-4</c:v>
                </c:pt>
                <c:pt idx="4429">
                  <c:v>6.9016979428927338E-4</c:v>
                </c:pt>
                <c:pt idx="4430">
                  <c:v>7.2404535213642829E-4</c:v>
                </c:pt>
                <c:pt idx="4431">
                  <c:v>7.7439487928811083E-4</c:v>
                </c:pt>
                <c:pt idx="4432">
                  <c:v>7.8301869447025562E-4</c:v>
                </c:pt>
                <c:pt idx="4433">
                  <c:v>7.7172624332053183E-4</c:v>
                </c:pt>
                <c:pt idx="4434">
                  <c:v>7.4127177667373373E-4</c:v>
                </c:pt>
                <c:pt idx="4435">
                  <c:v>7.4102063714516909E-4</c:v>
                </c:pt>
                <c:pt idx="4436">
                  <c:v>7.4692197314117637E-4</c:v>
                </c:pt>
                <c:pt idx="4437">
                  <c:v>7.5148205722659102E-4</c:v>
                </c:pt>
                <c:pt idx="4438">
                  <c:v>7.4666420748998707E-4</c:v>
                </c:pt>
                <c:pt idx="4439">
                  <c:v>7.5429168056623795E-4</c:v>
                </c:pt>
                <c:pt idx="4440">
                  <c:v>7.2578518585478084E-4</c:v>
                </c:pt>
                <c:pt idx="4441">
                  <c:v>7.3641293479771058E-4</c:v>
                </c:pt>
                <c:pt idx="4442">
                  <c:v>7.5827006374294985E-4</c:v>
                </c:pt>
                <c:pt idx="4443">
                  <c:v>7.9503002994131718E-4</c:v>
                </c:pt>
                <c:pt idx="4444">
                  <c:v>7.8493736543237521E-4</c:v>
                </c:pt>
                <c:pt idx="4445">
                  <c:v>8.0450972315850499E-4</c:v>
                </c:pt>
                <c:pt idx="4446">
                  <c:v>8.141537307872768E-4</c:v>
                </c:pt>
                <c:pt idx="4447">
                  <c:v>8.15960273871282E-4</c:v>
                </c:pt>
                <c:pt idx="4448">
                  <c:v>8.2452037687358955E-4</c:v>
                </c:pt>
                <c:pt idx="4449">
                  <c:v>7.785057336316722E-4</c:v>
                </c:pt>
                <c:pt idx="4450">
                  <c:v>7.9396510429469147E-4</c:v>
                </c:pt>
                <c:pt idx="4451">
                  <c:v>8.076523060451859E-4</c:v>
                </c:pt>
                <c:pt idx="4452">
                  <c:v>8.128085411326382E-4</c:v>
                </c:pt>
                <c:pt idx="4453">
                  <c:v>8.1515621236070708E-4</c:v>
                </c:pt>
                <c:pt idx="4454">
                  <c:v>8.1821819640450822E-4</c:v>
                </c:pt>
                <c:pt idx="4455">
                  <c:v>8.2025146551133741E-4</c:v>
                </c:pt>
                <c:pt idx="4456">
                  <c:v>8.0259484704619697E-4</c:v>
                </c:pt>
                <c:pt idx="4457">
                  <c:v>8.0378736419083356E-4</c:v>
                </c:pt>
                <c:pt idx="4458">
                  <c:v>8.0833471143427083E-4</c:v>
                </c:pt>
                <c:pt idx="4459">
                  <c:v>7.945925537680542E-4</c:v>
                </c:pt>
                <c:pt idx="4460">
                  <c:v>7.7320677872735378E-4</c:v>
                </c:pt>
                <c:pt idx="4461">
                  <c:v>6.6740090754847806E-4</c:v>
                </c:pt>
                <c:pt idx="4462">
                  <c:v>6.8426419044362308E-4</c:v>
                </c:pt>
                <c:pt idx="4463">
                  <c:v>6.8903488790643397E-4</c:v>
                </c:pt>
                <c:pt idx="4464">
                  <c:v>7.4126791182951596E-4</c:v>
                </c:pt>
                <c:pt idx="4465">
                  <c:v>7.3735201223203704E-4</c:v>
                </c:pt>
                <c:pt idx="4466">
                  <c:v>7.3574085345137004E-4</c:v>
                </c:pt>
                <c:pt idx="4467">
                  <c:v>7.3204053026130339E-4</c:v>
                </c:pt>
                <c:pt idx="4468">
                  <c:v>7.3419011873112662E-4</c:v>
                </c:pt>
                <c:pt idx="4469">
                  <c:v>7.3206643374494141E-4</c:v>
                </c:pt>
                <c:pt idx="4470">
                  <c:v>7.3040755705292774E-4</c:v>
                </c:pt>
                <c:pt idx="4471">
                  <c:v>7.2630971322271468E-4</c:v>
                </c:pt>
                <c:pt idx="4472">
                  <c:v>6.9973598543935126E-4</c:v>
                </c:pt>
                <c:pt idx="4473">
                  <c:v>6.9824434337909251E-4</c:v>
                </c:pt>
                <c:pt idx="4474">
                  <c:v>7.0460618185610589E-4</c:v>
                </c:pt>
                <c:pt idx="4475">
                  <c:v>6.7042571690130318E-4</c:v>
                </c:pt>
                <c:pt idx="4476">
                  <c:v>6.6368786642128643E-4</c:v>
                </c:pt>
                <c:pt idx="4477">
                  <c:v>6.5834383348730829E-4</c:v>
                </c:pt>
                <c:pt idx="4478">
                  <c:v>6.5153630189266026E-4</c:v>
                </c:pt>
                <c:pt idx="4479">
                  <c:v>6.4437913360201513E-4</c:v>
                </c:pt>
                <c:pt idx="4480">
                  <c:v>6.1001736472236323E-4</c:v>
                </c:pt>
                <c:pt idx="4481">
                  <c:v>6.1745038292446001E-4</c:v>
                </c:pt>
                <c:pt idx="4482">
                  <c:v>6.2498094142885579E-4</c:v>
                </c:pt>
                <c:pt idx="4483">
                  <c:v>6.241807571911828E-4</c:v>
                </c:pt>
                <c:pt idx="4484">
                  <c:v>6.2306299167828633E-4</c:v>
                </c:pt>
                <c:pt idx="4485">
                  <c:v>6.6422763711222103E-4</c:v>
                </c:pt>
                <c:pt idx="4486">
                  <c:v>6.69822958054658E-4</c:v>
                </c:pt>
                <c:pt idx="4487">
                  <c:v>6.8212100468663394E-4</c:v>
                </c:pt>
                <c:pt idx="4488">
                  <c:v>7.0173444560393111E-4</c:v>
                </c:pt>
                <c:pt idx="4489">
                  <c:v>6.9889751031480883E-4</c:v>
                </c:pt>
                <c:pt idx="4490">
                  <c:v>6.9454911295273856E-4</c:v>
                </c:pt>
                <c:pt idx="4491">
                  <c:v>7.2722797575952526E-4</c:v>
                </c:pt>
                <c:pt idx="4492">
                  <c:v>7.1397132821888424E-4</c:v>
                </c:pt>
                <c:pt idx="4493">
                  <c:v>7.3455410707749357E-4</c:v>
                </c:pt>
                <c:pt idx="4494">
                  <c:v>7.1379265775009613E-4</c:v>
                </c:pt>
                <c:pt idx="4495">
                  <c:v>7.0226709598312977E-4</c:v>
                </c:pt>
                <c:pt idx="4496">
                  <c:v>7.1703334567872539E-4</c:v>
                </c:pt>
                <c:pt idx="4497">
                  <c:v>7.1873146633613324E-4</c:v>
                </c:pt>
                <c:pt idx="4498">
                  <c:v>7.5319410034380542E-4</c:v>
                </c:pt>
                <c:pt idx="4499">
                  <c:v>7.5487442654241532E-4</c:v>
                </c:pt>
                <c:pt idx="4500">
                  <c:v>7.6742539608547168E-4</c:v>
                </c:pt>
                <c:pt idx="4501">
                  <c:v>7.6847264398482279E-4</c:v>
                </c:pt>
                <c:pt idx="4502">
                  <c:v>7.7268569558802051E-4</c:v>
                </c:pt>
                <c:pt idx="4503">
                  <c:v>7.7807725707752903E-4</c:v>
                </c:pt>
                <c:pt idx="4504">
                  <c:v>7.6882941741413966E-4</c:v>
                </c:pt>
                <c:pt idx="4505">
                  <c:v>7.7243798630655331E-4</c:v>
                </c:pt>
                <c:pt idx="4506">
                  <c:v>7.7458623878634992E-4</c:v>
                </c:pt>
                <c:pt idx="4507">
                  <c:v>7.7504658384248428E-4</c:v>
                </c:pt>
                <c:pt idx="4508">
                  <c:v>7.7933005837245277E-4</c:v>
                </c:pt>
                <c:pt idx="4509">
                  <c:v>7.7844311877125474E-4</c:v>
                </c:pt>
                <c:pt idx="4510">
                  <c:v>7.8045022421161935E-4</c:v>
                </c:pt>
                <c:pt idx="4511">
                  <c:v>7.3560245827374428E-4</c:v>
                </c:pt>
                <c:pt idx="4512">
                  <c:v>7.4737083362686493E-4</c:v>
                </c:pt>
                <c:pt idx="4513">
                  <c:v>7.5992183505877386E-4</c:v>
                </c:pt>
                <c:pt idx="4514">
                  <c:v>7.6952337476647917E-4</c:v>
                </c:pt>
                <c:pt idx="4515">
                  <c:v>7.7071374979680485E-4</c:v>
                </c:pt>
                <c:pt idx="4516">
                  <c:v>7.8168531578012043E-4</c:v>
                </c:pt>
                <c:pt idx="4517">
                  <c:v>7.7921936248199521E-4</c:v>
                </c:pt>
                <c:pt idx="4518">
                  <c:v>7.5219255506021486E-4</c:v>
                </c:pt>
                <c:pt idx="4519">
                  <c:v>7.7907156467389477E-4</c:v>
                </c:pt>
                <c:pt idx="4520">
                  <c:v>7.8220027816161379E-4</c:v>
                </c:pt>
                <c:pt idx="4521">
                  <c:v>7.6415721630459317E-4</c:v>
                </c:pt>
                <c:pt idx="4522">
                  <c:v>7.6982995500130187E-4</c:v>
                </c:pt>
                <c:pt idx="4523">
                  <c:v>7.4726867964532498E-4</c:v>
                </c:pt>
                <c:pt idx="4524">
                  <c:v>7.2486072921700744E-4</c:v>
                </c:pt>
                <c:pt idx="4525">
                  <c:v>7.2616311174899249E-4</c:v>
                </c:pt>
                <c:pt idx="4526">
                  <c:v>6.9564236019666395E-4</c:v>
                </c:pt>
                <c:pt idx="4527">
                  <c:v>7.1685422632876547E-4</c:v>
                </c:pt>
                <c:pt idx="4528">
                  <c:v>6.7353555283241337E-4</c:v>
                </c:pt>
                <c:pt idx="4529">
                  <c:v>6.8898594216448166E-4</c:v>
                </c:pt>
                <c:pt idx="4530">
                  <c:v>7.0074271695823212E-4</c:v>
                </c:pt>
                <c:pt idx="4531">
                  <c:v>7.0050801705033865E-4</c:v>
                </c:pt>
                <c:pt idx="4532">
                  <c:v>7.0078708478497789E-4</c:v>
                </c:pt>
                <c:pt idx="4533">
                  <c:v>6.8876462955784457E-4</c:v>
                </c:pt>
                <c:pt idx="4534">
                  <c:v>6.8175248342913861E-4</c:v>
                </c:pt>
                <c:pt idx="4535">
                  <c:v>6.7457448746794041E-4</c:v>
                </c:pt>
                <c:pt idx="4536">
                  <c:v>6.6622868047042224E-4</c:v>
                </c:pt>
                <c:pt idx="4537">
                  <c:v>6.5667582882829214E-4</c:v>
                </c:pt>
                <c:pt idx="4538">
                  <c:v>6.8986325452196078E-4</c:v>
                </c:pt>
                <c:pt idx="4539">
                  <c:v>6.8437170053814293E-4</c:v>
                </c:pt>
                <c:pt idx="4540">
                  <c:v>6.6969685091898491E-4</c:v>
                </c:pt>
                <c:pt idx="4541">
                  <c:v>6.5034314672996125E-4</c:v>
                </c:pt>
                <c:pt idx="4542">
                  <c:v>6.6246826110028716E-4</c:v>
                </c:pt>
                <c:pt idx="4543">
                  <c:v>6.6169364465991625E-4</c:v>
                </c:pt>
                <c:pt idx="4544">
                  <c:v>6.6415970171009508E-4</c:v>
                </c:pt>
                <c:pt idx="4545">
                  <c:v>6.3414668252571415E-4</c:v>
                </c:pt>
                <c:pt idx="4546">
                  <c:v>6.144420777059738E-4</c:v>
                </c:pt>
                <c:pt idx="4547">
                  <c:v>6.1393602767395681E-4</c:v>
                </c:pt>
                <c:pt idx="4548">
                  <c:v>6.1188169216602089E-4</c:v>
                </c:pt>
                <c:pt idx="4549">
                  <c:v>5.854268731724251E-4</c:v>
                </c:pt>
                <c:pt idx="4550">
                  <c:v>5.8991688261593792E-4</c:v>
                </c:pt>
                <c:pt idx="4551">
                  <c:v>5.9241901511518174E-4</c:v>
                </c:pt>
                <c:pt idx="4552">
                  <c:v>5.8933720555088306E-4</c:v>
                </c:pt>
                <c:pt idx="4553">
                  <c:v>5.8672041660362767E-4</c:v>
                </c:pt>
                <c:pt idx="4554">
                  <c:v>5.8892051250402679E-4</c:v>
                </c:pt>
                <c:pt idx="4555">
                  <c:v>5.9524769964879769E-4</c:v>
                </c:pt>
                <c:pt idx="4556">
                  <c:v>6.0086516494344032E-4</c:v>
                </c:pt>
                <c:pt idx="4557">
                  <c:v>5.7282086865600513E-4</c:v>
                </c:pt>
                <c:pt idx="4558">
                  <c:v>5.5855936827512223E-4</c:v>
                </c:pt>
                <c:pt idx="4559">
                  <c:v>5.2621111532097419E-4</c:v>
                </c:pt>
                <c:pt idx="4560">
                  <c:v>5.0625205615258454E-4</c:v>
                </c:pt>
                <c:pt idx="4561">
                  <c:v>5.0507123794294394E-4</c:v>
                </c:pt>
                <c:pt idx="4562">
                  <c:v>4.9679105654459974E-4</c:v>
                </c:pt>
                <c:pt idx="4563">
                  <c:v>4.9960177226568447E-4</c:v>
                </c:pt>
                <c:pt idx="4564">
                  <c:v>5.0185500085993045E-4</c:v>
                </c:pt>
                <c:pt idx="4565">
                  <c:v>5.2667842629648741E-4</c:v>
                </c:pt>
                <c:pt idx="4566">
                  <c:v>5.6482285570462649E-4</c:v>
                </c:pt>
                <c:pt idx="4567">
                  <c:v>5.7596242375767268E-4</c:v>
                </c:pt>
                <c:pt idx="4568">
                  <c:v>5.7617302087009854E-4</c:v>
                </c:pt>
                <c:pt idx="4569">
                  <c:v>5.6602049820968215E-4</c:v>
                </c:pt>
                <c:pt idx="4570">
                  <c:v>5.7649740791106195E-4</c:v>
                </c:pt>
                <c:pt idx="4571">
                  <c:v>5.7642654217318265E-4</c:v>
                </c:pt>
                <c:pt idx="4572">
                  <c:v>5.5258878380941192E-4</c:v>
                </c:pt>
                <c:pt idx="4573">
                  <c:v>5.5776949320447526E-4</c:v>
                </c:pt>
                <c:pt idx="4574">
                  <c:v>5.5813220014234077E-4</c:v>
                </c:pt>
                <c:pt idx="4575">
                  <c:v>5.8136079674453813E-4</c:v>
                </c:pt>
                <c:pt idx="4576">
                  <c:v>6.1384392755730037E-4</c:v>
                </c:pt>
                <c:pt idx="4577">
                  <c:v>6.3516444959226654E-4</c:v>
                </c:pt>
                <c:pt idx="4578">
                  <c:v>6.4668183511607013E-4</c:v>
                </c:pt>
                <c:pt idx="4579">
                  <c:v>6.5647829939567584E-4</c:v>
                </c:pt>
                <c:pt idx="4580">
                  <c:v>6.5556410314176572E-4</c:v>
                </c:pt>
                <c:pt idx="4581">
                  <c:v>6.5242080348326106E-4</c:v>
                </c:pt>
                <c:pt idx="4582">
                  <c:v>6.5281242927510809E-4</c:v>
                </c:pt>
                <c:pt idx="4583">
                  <c:v>6.4989525363673786E-4</c:v>
                </c:pt>
                <c:pt idx="4584">
                  <c:v>6.4039520210741846E-4</c:v>
                </c:pt>
                <c:pt idx="4585">
                  <c:v>6.2952709646389802E-4</c:v>
                </c:pt>
                <c:pt idx="4586">
                  <c:v>6.3066863124811284E-4</c:v>
                </c:pt>
                <c:pt idx="4587">
                  <c:v>6.3302655713442959E-4</c:v>
                </c:pt>
                <c:pt idx="4588">
                  <c:v>6.4657056890299932E-4</c:v>
                </c:pt>
                <c:pt idx="4589">
                  <c:v>6.4862570661037211E-4</c:v>
                </c:pt>
                <c:pt idx="4590">
                  <c:v>6.5011080497443864E-4</c:v>
                </c:pt>
                <c:pt idx="4591">
                  <c:v>6.6197720463075896E-4</c:v>
                </c:pt>
                <c:pt idx="4592">
                  <c:v>6.7452939108936173E-4</c:v>
                </c:pt>
                <c:pt idx="4593">
                  <c:v>6.7563990707045956E-4</c:v>
                </c:pt>
                <c:pt idx="4594">
                  <c:v>7.8406304923894798E-4</c:v>
                </c:pt>
                <c:pt idx="4595">
                  <c:v>7.8422674091115226E-4</c:v>
                </c:pt>
                <c:pt idx="4596">
                  <c:v>7.5360938801542451E-4</c:v>
                </c:pt>
                <c:pt idx="4597">
                  <c:v>7.4129698257182697E-4</c:v>
                </c:pt>
                <c:pt idx="4598">
                  <c:v>7.4001288724919844E-4</c:v>
                </c:pt>
                <c:pt idx="4599">
                  <c:v>7.4858872219715734E-4</c:v>
                </c:pt>
                <c:pt idx="4600">
                  <c:v>7.3719990984272299E-4</c:v>
                </c:pt>
                <c:pt idx="4601">
                  <c:v>7.4537363959369313E-4</c:v>
                </c:pt>
                <c:pt idx="4602">
                  <c:v>7.7637303771561808E-4</c:v>
                </c:pt>
                <c:pt idx="4603">
                  <c:v>7.8417170376534999E-4</c:v>
                </c:pt>
                <c:pt idx="4604">
                  <c:v>7.9400871026121585E-4</c:v>
                </c:pt>
                <c:pt idx="4605">
                  <c:v>8.1178818888032601E-4</c:v>
                </c:pt>
                <c:pt idx="4606">
                  <c:v>7.8168100792580281E-4</c:v>
                </c:pt>
                <c:pt idx="4607">
                  <c:v>7.7381380292381493E-4</c:v>
                </c:pt>
                <c:pt idx="4608">
                  <c:v>7.4946948319242087E-4</c:v>
                </c:pt>
                <c:pt idx="4609">
                  <c:v>7.4086135005156368E-4</c:v>
                </c:pt>
                <c:pt idx="4610">
                  <c:v>7.7126845035808099E-4</c:v>
                </c:pt>
                <c:pt idx="4611">
                  <c:v>7.8361287075905171E-4</c:v>
                </c:pt>
                <c:pt idx="4612">
                  <c:v>8.1018079053256137E-4</c:v>
                </c:pt>
                <c:pt idx="4613">
                  <c:v>8.2169930653751863E-4</c:v>
                </c:pt>
                <c:pt idx="4614">
                  <c:v>8.2554825502490902E-4</c:v>
                </c:pt>
                <c:pt idx="4615">
                  <c:v>8.2810994805510648E-4</c:v>
                </c:pt>
                <c:pt idx="4616">
                  <c:v>8.3127930689338243E-4</c:v>
                </c:pt>
                <c:pt idx="4617">
                  <c:v>8.5793928318413982E-4</c:v>
                </c:pt>
                <c:pt idx="4618">
                  <c:v>8.7862824396488335E-4</c:v>
                </c:pt>
                <c:pt idx="4619">
                  <c:v>8.7942066175218582E-4</c:v>
                </c:pt>
                <c:pt idx="4620">
                  <c:v>8.7789171683273401E-4</c:v>
                </c:pt>
                <c:pt idx="4621">
                  <c:v>8.7218598883363166E-4</c:v>
                </c:pt>
                <c:pt idx="4622">
                  <c:v>8.7189490692149191E-4</c:v>
                </c:pt>
                <c:pt idx="4623">
                  <c:v>8.8311329031048652E-4</c:v>
                </c:pt>
                <c:pt idx="4624">
                  <c:v>7.8045700609183301E-4</c:v>
                </c:pt>
                <c:pt idx="4625">
                  <c:v>7.9560578518392256E-4</c:v>
                </c:pt>
                <c:pt idx="4626">
                  <c:v>8.0542399719494315E-4</c:v>
                </c:pt>
                <c:pt idx="4627">
                  <c:v>8.0229453618136997E-4</c:v>
                </c:pt>
                <c:pt idx="4628">
                  <c:v>7.7617841633521867E-4</c:v>
                </c:pt>
                <c:pt idx="4629">
                  <c:v>7.874630960366712E-4</c:v>
                </c:pt>
                <c:pt idx="4630">
                  <c:v>7.8317720237907631E-4</c:v>
                </c:pt>
                <c:pt idx="4631">
                  <c:v>7.7351791230440535E-4</c:v>
                </c:pt>
                <c:pt idx="4632">
                  <c:v>7.3626586046740029E-4</c:v>
                </c:pt>
                <c:pt idx="4633">
                  <c:v>7.2666623471481133E-4</c:v>
                </c:pt>
                <c:pt idx="4634">
                  <c:v>7.237645821846475E-4</c:v>
                </c:pt>
                <c:pt idx="4635">
                  <c:v>6.9627680189583599E-4</c:v>
                </c:pt>
                <c:pt idx="4636">
                  <c:v>6.9162907364927551E-4</c:v>
                </c:pt>
                <c:pt idx="4637">
                  <c:v>6.8781026613838202E-4</c:v>
                </c:pt>
                <c:pt idx="4638">
                  <c:v>7.3559619080649174E-4</c:v>
                </c:pt>
                <c:pt idx="4639">
                  <c:v>7.4205392583778697E-4</c:v>
                </c:pt>
                <c:pt idx="4640">
                  <c:v>7.2126960191296367E-4</c:v>
                </c:pt>
                <c:pt idx="4641">
                  <c:v>7.0679394343045815E-4</c:v>
                </c:pt>
                <c:pt idx="4642">
                  <c:v>6.8469322690191815E-4</c:v>
                </c:pt>
                <c:pt idx="4643">
                  <c:v>6.6584781200842514E-4</c:v>
                </c:pt>
                <c:pt idx="4644">
                  <c:v>6.6444986302652438E-4</c:v>
                </c:pt>
                <c:pt idx="4645">
                  <c:v>6.6739206712778266E-4</c:v>
                </c:pt>
                <c:pt idx="4646">
                  <c:v>6.732022851892634E-4</c:v>
                </c:pt>
                <c:pt idx="4647">
                  <c:v>6.7788481959498142E-4</c:v>
                </c:pt>
                <c:pt idx="4648">
                  <c:v>6.2686991260633431E-4</c:v>
                </c:pt>
                <c:pt idx="4649">
                  <c:v>6.2972767332271893E-4</c:v>
                </c:pt>
                <c:pt idx="4650">
                  <c:v>6.325544136800104E-4</c:v>
                </c:pt>
                <c:pt idx="4651">
                  <c:v>6.5630867444211531E-4</c:v>
                </c:pt>
                <c:pt idx="4652">
                  <c:v>6.7899536968831083E-4</c:v>
                </c:pt>
                <c:pt idx="4653">
                  <c:v>6.5481374674368899E-4</c:v>
                </c:pt>
                <c:pt idx="4654">
                  <c:v>6.6300396250695403E-4</c:v>
                </c:pt>
                <c:pt idx="4655">
                  <c:v>6.400564883768502E-4</c:v>
                </c:pt>
                <c:pt idx="4656">
                  <c:v>6.1245352649439561E-4</c:v>
                </c:pt>
                <c:pt idx="4657">
                  <c:v>6.1916617481653125E-4</c:v>
                </c:pt>
                <c:pt idx="4658">
                  <c:v>6.1211194071197905E-4</c:v>
                </c:pt>
                <c:pt idx="4659">
                  <c:v>6.1581961630267218E-4</c:v>
                </c:pt>
                <c:pt idx="4660">
                  <c:v>6.1823203083575075E-4</c:v>
                </c:pt>
                <c:pt idx="4661">
                  <c:v>6.2213611900387026E-4</c:v>
                </c:pt>
                <c:pt idx="4662">
                  <c:v>6.4334168442671947E-4</c:v>
                </c:pt>
                <c:pt idx="4663">
                  <c:v>6.6570751185697648E-4</c:v>
                </c:pt>
                <c:pt idx="4664">
                  <c:v>6.4818462902183885E-4</c:v>
                </c:pt>
                <c:pt idx="4665">
                  <c:v>6.4700377918552464E-4</c:v>
                </c:pt>
                <c:pt idx="4666">
                  <c:v>6.4579981938472724E-4</c:v>
                </c:pt>
                <c:pt idx="4667">
                  <c:v>6.4380622201878521E-4</c:v>
                </c:pt>
                <c:pt idx="4668">
                  <c:v>5.8879962252442793E-4</c:v>
                </c:pt>
                <c:pt idx="4669">
                  <c:v>5.816580826846589E-4</c:v>
                </c:pt>
                <c:pt idx="4670">
                  <c:v>5.7918342721598214E-4</c:v>
                </c:pt>
                <c:pt idx="4671">
                  <c:v>5.6792684579569006E-4</c:v>
                </c:pt>
                <c:pt idx="4672">
                  <c:v>5.7099958074566075E-4</c:v>
                </c:pt>
                <c:pt idx="4673">
                  <c:v>5.686976872032514E-4</c:v>
                </c:pt>
                <c:pt idx="4674">
                  <c:v>5.8875353277980803E-4</c:v>
                </c:pt>
                <c:pt idx="4675">
                  <c:v>6.1615922366067941E-4</c:v>
                </c:pt>
                <c:pt idx="4676">
                  <c:v>6.2236516827210767E-4</c:v>
                </c:pt>
                <c:pt idx="4677">
                  <c:v>6.039730595847583E-4</c:v>
                </c:pt>
                <c:pt idx="4678">
                  <c:v>6.0566899109052493E-4</c:v>
                </c:pt>
                <c:pt idx="4679">
                  <c:v>6.1157970826630445E-4</c:v>
                </c:pt>
                <c:pt idx="4680">
                  <c:v>6.1207962306336747E-4</c:v>
                </c:pt>
                <c:pt idx="4681">
                  <c:v>5.9641893028020533E-4</c:v>
                </c:pt>
                <c:pt idx="4682">
                  <c:v>5.6694484161765653E-4</c:v>
                </c:pt>
                <c:pt idx="4683">
                  <c:v>5.6924069068513597E-4</c:v>
                </c:pt>
                <c:pt idx="4684">
                  <c:v>5.6928336167265338E-4</c:v>
                </c:pt>
                <c:pt idx="4685">
                  <c:v>5.8394095990014073E-4</c:v>
                </c:pt>
                <c:pt idx="4686">
                  <c:v>6.0800175525562708E-4</c:v>
                </c:pt>
                <c:pt idx="4687">
                  <c:v>6.0056538371228315E-4</c:v>
                </c:pt>
                <c:pt idx="4688">
                  <c:v>5.8502927503734201E-4</c:v>
                </c:pt>
                <c:pt idx="4689">
                  <c:v>5.5389507839426102E-4</c:v>
                </c:pt>
                <c:pt idx="4690">
                  <c:v>5.5401482717405215E-4</c:v>
                </c:pt>
                <c:pt idx="4691">
                  <c:v>5.587933538402862E-4</c:v>
                </c:pt>
                <c:pt idx="4692">
                  <c:v>5.1963027192685743E-4</c:v>
                </c:pt>
                <c:pt idx="4693">
                  <c:v>5.1521925662670559E-4</c:v>
                </c:pt>
                <c:pt idx="4694">
                  <c:v>5.057036754112659E-4</c:v>
                </c:pt>
                <c:pt idx="4695">
                  <c:v>5.0977779801773056E-4</c:v>
                </c:pt>
                <c:pt idx="4696">
                  <c:v>5.1263492197871699E-4</c:v>
                </c:pt>
                <c:pt idx="4697">
                  <c:v>5.1709678601811495E-4</c:v>
                </c:pt>
                <c:pt idx="4698">
                  <c:v>5.1540588201158099E-4</c:v>
                </c:pt>
                <c:pt idx="4699">
                  <c:v>5.2059344558634665E-4</c:v>
                </c:pt>
                <c:pt idx="4700">
                  <c:v>5.2504896415594418E-4</c:v>
                </c:pt>
                <c:pt idx="4701">
                  <c:v>5.2788396786892545E-4</c:v>
                </c:pt>
                <c:pt idx="4702">
                  <c:v>5.2593997322468282E-4</c:v>
                </c:pt>
                <c:pt idx="4703">
                  <c:v>5.2811457113242281E-4</c:v>
                </c:pt>
                <c:pt idx="4704">
                  <c:v>5.0454387311252226E-4</c:v>
                </c:pt>
                <c:pt idx="4705">
                  <c:v>4.4810279482067127E-4</c:v>
                </c:pt>
                <c:pt idx="4706">
                  <c:v>4.4741152790122413E-4</c:v>
                </c:pt>
                <c:pt idx="4707">
                  <c:v>4.4889845022012115E-4</c:v>
                </c:pt>
                <c:pt idx="4708">
                  <c:v>4.4903484330727602E-4</c:v>
                </c:pt>
                <c:pt idx="4709">
                  <c:v>4.4772536141672625E-4</c:v>
                </c:pt>
                <c:pt idx="4710">
                  <c:v>4.6553668914706045E-4</c:v>
                </c:pt>
                <c:pt idx="4711">
                  <c:v>4.649141526519555E-4</c:v>
                </c:pt>
                <c:pt idx="4712">
                  <c:v>4.8025395315410456E-4</c:v>
                </c:pt>
                <c:pt idx="4713">
                  <c:v>4.7545417890219822E-4</c:v>
                </c:pt>
                <c:pt idx="4714">
                  <c:v>4.7816357362959243E-4</c:v>
                </c:pt>
                <c:pt idx="4715">
                  <c:v>4.5181635081100715E-4</c:v>
                </c:pt>
                <c:pt idx="4716">
                  <c:v>4.9857183845786689E-4</c:v>
                </c:pt>
                <c:pt idx="4717">
                  <c:v>5.1195988589688383E-4</c:v>
                </c:pt>
                <c:pt idx="4718">
                  <c:v>5.3014025489068551E-4</c:v>
                </c:pt>
                <c:pt idx="4719">
                  <c:v>5.3197808350829165E-4</c:v>
                </c:pt>
                <c:pt idx="4720">
                  <c:v>1.3462361185472053E-3</c:v>
                </c:pt>
                <c:pt idx="4721">
                  <c:v>1.7026545935891159E-3</c:v>
                </c:pt>
                <c:pt idx="4722">
                  <c:v>2.3771580609674376E-3</c:v>
                </c:pt>
                <c:pt idx="4723">
                  <c:v>2.9129011513779283E-3</c:v>
                </c:pt>
                <c:pt idx="4724">
                  <c:v>3.345854320885583E-3</c:v>
                </c:pt>
                <c:pt idx="4725">
                  <c:v>3.7140940149807769E-3</c:v>
                </c:pt>
                <c:pt idx="4726">
                  <c:v>4.0640608107021274E-3</c:v>
                </c:pt>
                <c:pt idx="4727">
                  <c:v>4.3941925078798925E-3</c:v>
                </c:pt>
                <c:pt idx="4728">
                  <c:v>5.0450441750288025E-3</c:v>
                </c:pt>
                <c:pt idx="4729">
                  <c:v>5.6039081405188079E-3</c:v>
                </c:pt>
                <c:pt idx="4730">
                  <c:v>6.3141494426278101E-3</c:v>
                </c:pt>
                <c:pt idx="4731">
                  <c:v>7.0069018516983501E-3</c:v>
                </c:pt>
                <c:pt idx="4732">
                  <c:v>7.7915882719552928E-3</c:v>
                </c:pt>
                <c:pt idx="4733">
                  <c:v>8.4450407379751784E-3</c:v>
                </c:pt>
                <c:pt idx="4734">
                  <c:v>9.2369706348979612E-3</c:v>
                </c:pt>
                <c:pt idx="4735">
                  <c:v>1.0000683373618967E-2</c:v>
                </c:pt>
                <c:pt idx="4736">
                  <c:v>1.0852743306362267E-2</c:v>
                </c:pt>
                <c:pt idx="4737">
                  <c:v>1.159666772533645E-2</c:v>
                </c:pt>
                <c:pt idx="4738">
                  <c:v>1.2358122313054623E-2</c:v>
                </c:pt>
                <c:pt idx="4739">
                  <c:v>1.2987803837124562E-2</c:v>
                </c:pt>
                <c:pt idx="4740">
                  <c:v>1.3522879972869883E-2</c:v>
                </c:pt>
                <c:pt idx="4741">
                  <c:v>1.4004849027263615E-2</c:v>
                </c:pt>
                <c:pt idx="4742">
                  <c:v>1.4379859763586092E-2</c:v>
                </c:pt>
                <c:pt idx="4743">
                  <c:v>1.5004052407420424E-2</c:v>
                </c:pt>
                <c:pt idx="4744">
                  <c:v>1.588671439407633E-2</c:v>
                </c:pt>
                <c:pt idx="4745">
                  <c:v>1.6587061435068058E-2</c:v>
                </c:pt>
                <c:pt idx="4746">
                  <c:v>1.7314076847232959E-2</c:v>
                </c:pt>
                <c:pt idx="4747">
                  <c:v>1.7967768712952456E-2</c:v>
                </c:pt>
                <c:pt idx="4748">
                  <c:v>1.8328415940131716E-2</c:v>
                </c:pt>
                <c:pt idx="4749">
                  <c:v>1.8889671962126764E-2</c:v>
                </c:pt>
                <c:pt idx="4750">
                  <c:v>1.9644204907841141E-2</c:v>
                </c:pt>
                <c:pt idx="4751">
                  <c:v>2.0252920556064709E-2</c:v>
                </c:pt>
                <c:pt idx="4752">
                  <c:v>2.0745815711665783E-2</c:v>
                </c:pt>
                <c:pt idx="4753">
                  <c:v>2.1170275450869337E-2</c:v>
                </c:pt>
                <c:pt idx="4754">
                  <c:v>2.1334808823659221E-2</c:v>
                </c:pt>
                <c:pt idx="4755">
                  <c:v>2.1287298234349654E-2</c:v>
                </c:pt>
                <c:pt idx="4756">
                  <c:v>2.1399322481484438E-2</c:v>
                </c:pt>
                <c:pt idx="4757">
                  <c:v>2.1276444477486917E-2</c:v>
                </c:pt>
                <c:pt idx="4758">
                  <c:v>2.1228736859220491E-2</c:v>
                </c:pt>
                <c:pt idx="4759">
                  <c:v>2.0944393358161287E-2</c:v>
                </c:pt>
                <c:pt idx="4760">
                  <c:v>2.0663813654490069E-2</c:v>
                </c:pt>
                <c:pt idx="4761">
                  <c:v>2.0391066046884058E-2</c:v>
                </c:pt>
                <c:pt idx="4762">
                  <c:v>2.0125499524302183E-2</c:v>
                </c:pt>
                <c:pt idx="4763">
                  <c:v>1.9648905617070393E-2</c:v>
                </c:pt>
                <c:pt idx="4764">
                  <c:v>1.9346715267118567E-2</c:v>
                </c:pt>
                <c:pt idx="4765">
                  <c:v>1.8945430385673923E-2</c:v>
                </c:pt>
                <c:pt idx="4766">
                  <c:v>1.8549870593412229E-2</c:v>
                </c:pt>
                <c:pt idx="4767">
                  <c:v>1.8023749110646227E-2</c:v>
                </c:pt>
                <c:pt idx="4768">
                  <c:v>1.7497106454060666E-2</c:v>
                </c:pt>
                <c:pt idx="4769">
                  <c:v>1.6803151872554389E-2</c:v>
                </c:pt>
                <c:pt idx="4770">
                  <c:v>1.6048860300146878E-2</c:v>
                </c:pt>
                <c:pt idx="4771">
                  <c:v>1.511442355028979E-2</c:v>
                </c:pt>
                <c:pt idx="4772">
                  <c:v>1.4026182809409654E-2</c:v>
                </c:pt>
                <c:pt idx="4773">
                  <c:v>1.3241849067557042E-2</c:v>
                </c:pt>
                <c:pt idx="4774">
                  <c:v>1.2923587001144526E-2</c:v>
                </c:pt>
                <c:pt idx="4775">
                  <c:v>1.2487590224053347E-2</c:v>
                </c:pt>
                <c:pt idx="4776">
                  <c:v>1.2486140707546025E-2</c:v>
                </c:pt>
                <c:pt idx="4777">
                  <c:v>1.2626732642251479E-2</c:v>
                </c:pt>
                <c:pt idx="4778">
                  <c:v>1.2563307380442156E-2</c:v>
                </c:pt>
                <c:pt idx="4779">
                  <c:v>1.2745449727717051E-2</c:v>
                </c:pt>
                <c:pt idx="4780">
                  <c:v>1.3279953871151428E-2</c:v>
                </c:pt>
                <c:pt idx="4781">
                  <c:v>1.3937294141377836E-2</c:v>
                </c:pt>
                <c:pt idx="4782">
                  <c:v>1.4600565577264725E-2</c:v>
                </c:pt>
                <c:pt idx="4783">
                  <c:v>1.5092935230987838E-2</c:v>
                </c:pt>
                <c:pt idx="4784">
                  <c:v>1.5407744122976512E-2</c:v>
                </c:pt>
                <c:pt idx="4785">
                  <c:v>1.5590432689525483E-2</c:v>
                </c:pt>
                <c:pt idx="4786">
                  <c:v>1.6294281918369319E-2</c:v>
                </c:pt>
                <c:pt idx="4787">
                  <c:v>1.6860451883646169E-2</c:v>
                </c:pt>
                <c:pt idx="4788">
                  <c:v>1.7731778487691106E-2</c:v>
                </c:pt>
                <c:pt idx="4789">
                  <c:v>1.8881057244696353E-2</c:v>
                </c:pt>
                <c:pt idx="4790">
                  <c:v>2.0281226261530869E-2</c:v>
                </c:pt>
                <c:pt idx="4791">
                  <c:v>2.152184441778239E-2</c:v>
                </c:pt>
                <c:pt idx="4792">
                  <c:v>2.2646610302962448E-2</c:v>
                </c:pt>
                <c:pt idx="4793">
                  <c:v>2.3574804407242411E-2</c:v>
                </c:pt>
                <c:pt idx="4794">
                  <c:v>2.4402942081160717E-2</c:v>
                </c:pt>
                <c:pt idx="4795">
                  <c:v>2.5395425523687044E-2</c:v>
                </c:pt>
                <c:pt idx="4796">
                  <c:v>2.6245310328920402E-2</c:v>
                </c:pt>
                <c:pt idx="4797">
                  <c:v>2.6800997994595455E-2</c:v>
                </c:pt>
                <c:pt idx="4798">
                  <c:v>2.7348179709338394E-2</c:v>
                </c:pt>
                <c:pt idx="4799">
                  <c:v>2.7696912630528901E-2</c:v>
                </c:pt>
                <c:pt idx="4800">
                  <c:v>2.7833355765939337E-2</c:v>
                </c:pt>
                <c:pt idx="4801">
                  <c:v>2.7846195935778223E-2</c:v>
                </c:pt>
                <c:pt idx="4802">
                  <c:v>2.7759483191629741E-2</c:v>
                </c:pt>
                <c:pt idx="4803">
                  <c:v>2.7467342618449238E-2</c:v>
                </c:pt>
                <c:pt idx="4804">
                  <c:v>2.711450430330058E-2</c:v>
                </c:pt>
                <c:pt idx="4805">
                  <c:v>2.6602738321369553E-2</c:v>
                </c:pt>
                <c:pt idx="4806">
                  <c:v>2.6262234006550058E-2</c:v>
                </c:pt>
                <c:pt idx="4807">
                  <c:v>2.6031446882475634E-2</c:v>
                </c:pt>
                <c:pt idx="4808">
                  <c:v>2.5744113207361152E-2</c:v>
                </c:pt>
                <c:pt idx="4809">
                  <c:v>2.5226003773001798E-2</c:v>
                </c:pt>
                <c:pt idx="4810">
                  <c:v>2.5074170591485728E-2</c:v>
                </c:pt>
                <c:pt idx="4811">
                  <c:v>2.4890159822455241E-2</c:v>
                </c:pt>
                <c:pt idx="4812">
                  <c:v>2.467752679979688E-2</c:v>
                </c:pt>
                <c:pt idx="4813">
                  <c:v>2.4288909818864099E-2</c:v>
                </c:pt>
                <c:pt idx="4814">
                  <c:v>2.3665928536871328E-2</c:v>
                </c:pt>
                <c:pt idx="4815">
                  <c:v>2.2834942346309825E-2</c:v>
                </c:pt>
                <c:pt idx="4816">
                  <c:v>2.2184052580614729E-2</c:v>
                </c:pt>
                <c:pt idx="4817">
                  <c:v>2.1474530074320004E-2</c:v>
                </c:pt>
                <c:pt idx="4818">
                  <c:v>2.098629707567292E-2</c:v>
                </c:pt>
                <c:pt idx="4819">
                  <c:v>2.0686194107649668E-2</c:v>
                </c:pt>
                <c:pt idx="4820">
                  <c:v>2.0878762555828625E-2</c:v>
                </c:pt>
                <c:pt idx="4821">
                  <c:v>2.0885517515614679E-2</c:v>
                </c:pt>
                <c:pt idx="4822">
                  <c:v>2.0953234858808005E-2</c:v>
                </c:pt>
                <c:pt idx="4823">
                  <c:v>2.0857360048351026E-2</c:v>
                </c:pt>
                <c:pt idx="4824">
                  <c:v>2.0792153744095283E-2</c:v>
                </c:pt>
                <c:pt idx="4825">
                  <c:v>2.0897227935029725E-2</c:v>
                </c:pt>
                <c:pt idx="4826">
                  <c:v>2.0887584656299314E-2</c:v>
                </c:pt>
                <c:pt idx="4827">
                  <c:v>2.0678735679129513E-2</c:v>
                </c:pt>
                <c:pt idx="4828">
                  <c:v>2.0469585610857079E-2</c:v>
                </c:pt>
                <c:pt idx="4829">
                  <c:v>2.0126803074583567E-2</c:v>
                </c:pt>
                <c:pt idx="4830">
                  <c:v>1.9613414501069498E-2</c:v>
                </c:pt>
                <c:pt idx="4831">
                  <c:v>1.9277957352291118E-2</c:v>
                </c:pt>
                <c:pt idx="4832">
                  <c:v>1.8889533526549471E-2</c:v>
                </c:pt>
                <c:pt idx="4833">
                  <c:v>1.8446775035055464E-2</c:v>
                </c:pt>
                <c:pt idx="4834">
                  <c:v>1.7789630312921172E-2</c:v>
                </c:pt>
                <c:pt idx="4835">
                  <c:v>1.7087941817256664E-2</c:v>
                </c:pt>
                <c:pt idx="4836">
                  <c:v>1.63736659567826E-2</c:v>
                </c:pt>
                <c:pt idx="4837">
                  <c:v>1.583813932509702E-2</c:v>
                </c:pt>
                <c:pt idx="4838">
                  <c:v>1.5603344104928446E-2</c:v>
                </c:pt>
                <c:pt idx="4839">
                  <c:v>1.5424921140376375E-2</c:v>
                </c:pt>
                <c:pt idx="4840">
                  <c:v>1.5506178249969756E-2</c:v>
                </c:pt>
                <c:pt idx="4841">
                  <c:v>1.5397715879639385E-2</c:v>
                </c:pt>
                <c:pt idx="4842">
                  <c:v>1.5801770334621931E-2</c:v>
                </c:pt>
                <c:pt idx="4843">
                  <c:v>1.6127892926132495E-2</c:v>
                </c:pt>
                <c:pt idx="4844">
                  <c:v>1.6246634647690737E-2</c:v>
                </c:pt>
                <c:pt idx="4845">
                  <c:v>1.6639387005189736E-2</c:v>
                </c:pt>
                <c:pt idx="4846">
                  <c:v>1.7322627126506781E-2</c:v>
                </c:pt>
                <c:pt idx="4847">
                  <c:v>1.7972192262046365E-2</c:v>
                </c:pt>
                <c:pt idx="4848">
                  <c:v>1.8579773518345742E-2</c:v>
                </c:pt>
                <c:pt idx="4849">
                  <c:v>1.8939529140529959E-2</c:v>
                </c:pt>
                <c:pt idx="4850">
                  <c:v>1.9453052210566906E-2</c:v>
                </c:pt>
                <c:pt idx="4851">
                  <c:v>1.983383569576673E-2</c:v>
                </c:pt>
                <c:pt idx="4852">
                  <c:v>2.0158577680552542E-2</c:v>
                </c:pt>
                <c:pt idx="4853">
                  <c:v>2.0656354380695276E-2</c:v>
                </c:pt>
                <c:pt idx="4854">
                  <c:v>2.1150994542073084E-2</c:v>
                </c:pt>
                <c:pt idx="4855">
                  <c:v>2.1428319878259994E-2</c:v>
                </c:pt>
                <c:pt idx="4856">
                  <c:v>2.153470698145361E-2</c:v>
                </c:pt>
                <c:pt idx="4857">
                  <c:v>2.1528328372442271E-2</c:v>
                </c:pt>
                <c:pt idx="4858">
                  <c:v>2.1336097272700857E-2</c:v>
                </c:pt>
                <c:pt idx="4859">
                  <c:v>2.0917402937812531E-2</c:v>
                </c:pt>
                <c:pt idx="4860">
                  <c:v>2.0456044747239291E-2</c:v>
                </c:pt>
                <c:pt idx="4861">
                  <c:v>2.0308948722448223E-2</c:v>
                </c:pt>
                <c:pt idx="4862">
                  <c:v>2.0044993018110687E-2</c:v>
                </c:pt>
                <c:pt idx="4863">
                  <c:v>1.973291126149589E-2</c:v>
                </c:pt>
                <c:pt idx="4864">
                  <c:v>1.9347301150740348E-2</c:v>
                </c:pt>
                <c:pt idx="4865">
                  <c:v>1.8828849198362089E-2</c:v>
                </c:pt>
                <c:pt idx="4866">
                  <c:v>1.8257782999014815E-2</c:v>
                </c:pt>
                <c:pt idx="4867">
                  <c:v>1.7733495189183931E-2</c:v>
                </c:pt>
                <c:pt idx="4868">
                  <c:v>1.7243237172819514E-2</c:v>
                </c:pt>
                <c:pt idx="4869">
                  <c:v>1.6796336895041623E-2</c:v>
                </c:pt>
                <c:pt idx="4870">
                  <c:v>1.6110114633857042E-2</c:v>
                </c:pt>
                <c:pt idx="4871">
                  <c:v>1.5302595830815984E-2</c:v>
                </c:pt>
                <c:pt idx="4872">
                  <c:v>1.5000177678854913E-2</c:v>
                </c:pt>
                <c:pt idx="4873">
                  <c:v>1.4614788557843723E-2</c:v>
                </c:pt>
                <c:pt idx="4874">
                  <c:v>1.4183549785057788E-2</c:v>
                </c:pt>
                <c:pt idx="4875">
                  <c:v>1.405630134382406E-2</c:v>
                </c:pt>
                <c:pt idx="4876">
                  <c:v>1.435240496198552E-2</c:v>
                </c:pt>
                <c:pt idx="4877">
                  <c:v>1.4453670527382197E-2</c:v>
                </c:pt>
                <c:pt idx="4878">
                  <c:v>1.4606047422150869E-2</c:v>
                </c:pt>
                <c:pt idx="4879">
                  <c:v>1.4716628408544524E-2</c:v>
                </c:pt>
                <c:pt idx="4880">
                  <c:v>1.5076979408764977E-2</c:v>
                </c:pt>
                <c:pt idx="4881">
                  <c:v>1.5251054900142601E-2</c:v>
                </c:pt>
                <c:pt idx="4882">
                  <c:v>1.5374953899024112E-2</c:v>
                </c:pt>
                <c:pt idx="4883">
                  <c:v>1.5786792654643503E-2</c:v>
                </c:pt>
                <c:pt idx="4884">
                  <c:v>1.6086096424183228E-2</c:v>
                </c:pt>
                <c:pt idx="4885">
                  <c:v>1.6275079390591755E-2</c:v>
                </c:pt>
                <c:pt idx="4886">
                  <c:v>1.6484521865457975E-2</c:v>
                </c:pt>
                <c:pt idx="4887">
                  <c:v>1.7086483633866435E-2</c:v>
                </c:pt>
                <c:pt idx="4888">
                  <c:v>1.7454426190095032E-2</c:v>
                </c:pt>
                <c:pt idx="4889">
                  <c:v>1.7648609971278664E-2</c:v>
                </c:pt>
                <c:pt idx="4890">
                  <c:v>1.7786719793553261E-2</c:v>
                </c:pt>
                <c:pt idx="4891">
                  <c:v>1.8128508401603138E-2</c:v>
                </c:pt>
                <c:pt idx="4892">
                  <c:v>1.8301286656573199E-2</c:v>
                </c:pt>
                <c:pt idx="4893">
                  <c:v>1.8554096571937458E-2</c:v>
                </c:pt>
                <c:pt idx="4894">
                  <c:v>1.896744286914212E-2</c:v>
                </c:pt>
                <c:pt idx="4895">
                  <c:v>1.9461606051547908E-2</c:v>
                </c:pt>
                <c:pt idx="4896">
                  <c:v>1.9914887329739561E-2</c:v>
                </c:pt>
                <c:pt idx="4897">
                  <c:v>2.0311532175838223E-2</c:v>
                </c:pt>
                <c:pt idx="4898">
                  <c:v>2.0563597294327253E-2</c:v>
                </c:pt>
                <c:pt idx="4899">
                  <c:v>2.0969771260287297E-2</c:v>
                </c:pt>
                <c:pt idx="4900">
                  <c:v>2.1181534026686079E-2</c:v>
                </c:pt>
                <c:pt idx="4901">
                  <c:v>2.1314121700646931E-2</c:v>
                </c:pt>
                <c:pt idx="4902">
                  <c:v>2.1326041853927714E-2</c:v>
                </c:pt>
                <c:pt idx="4903">
                  <c:v>2.1473628430438128E-2</c:v>
                </c:pt>
                <c:pt idx="4904">
                  <c:v>2.1549584234253315E-2</c:v>
                </c:pt>
                <c:pt idx="4905">
                  <c:v>2.1612961517273488E-2</c:v>
                </c:pt>
                <c:pt idx="4906">
                  <c:v>2.1648290508318686E-2</c:v>
                </c:pt>
                <c:pt idx="4907">
                  <c:v>2.1447426423447082E-2</c:v>
                </c:pt>
                <c:pt idx="4908">
                  <c:v>2.1237254349037154E-2</c:v>
                </c:pt>
                <c:pt idx="4909">
                  <c:v>2.0951849318000624E-2</c:v>
                </c:pt>
                <c:pt idx="4910">
                  <c:v>2.0796632946221423E-2</c:v>
                </c:pt>
                <c:pt idx="4911">
                  <c:v>2.0478454488591476E-2</c:v>
                </c:pt>
                <c:pt idx="4912">
                  <c:v>2.0106334578022893E-2</c:v>
                </c:pt>
                <c:pt idx="4913">
                  <c:v>1.9938426763249344E-2</c:v>
                </c:pt>
                <c:pt idx="4914">
                  <c:v>1.9863499510714398E-2</c:v>
                </c:pt>
                <c:pt idx="4915">
                  <c:v>1.959199737147304E-2</c:v>
                </c:pt>
                <c:pt idx="4916">
                  <c:v>1.9412831890340789E-2</c:v>
                </c:pt>
                <c:pt idx="4917">
                  <c:v>1.952727674065902E-2</c:v>
                </c:pt>
                <c:pt idx="4918">
                  <c:v>1.9720992256190558E-2</c:v>
                </c:pt>
                <c:pt idx="4919">
                  <c:v>1.9642457759090834E-2</c:v>
                </c:pt>
                <c:pt idx="4920">
                  <c:v>1.9336698646700463E-2</c:v>
                </c:pt>
                <c:pt idx="4921">
                  <c:v>1.9040544715841452E-2</c:v>
                </c:pt>
                <c:pt idx="4922">
                  <c:v>1.8841861286857668E-2</c:v>
                </c:pt>
                <c:pt idx="4923">
                  <c:v>1.8648702514699307E-2</c:v>
                </c:pt>
                <c:pt idx="4924">
                  <c:v>1.8632443824535414E-2</c:v>
                </c:pt>
                <c:pt idx="4925">
                  <c:v>1.87056408250421E-2</c:v>
                </c:pt>
                <c:pt idx="4926">
                  <c:v>1.8543074875533212E-2</c:v>
                </c:pt>
                <c:pt idx="4927">
                  <c:v>1.8485974295206181E-2</c:v>
                </c:pt>
                <c:pt idx="4928">
                  <c:v>1.8287387633519767E-2</c:v>
                </c:pt>
                <c:pt idx="4929">
                  <c:v>1.852785370927329E-2</c:v>
                </c:pt>
                <c:pt idx="4930">
                  <c:v>1.8852429939961848E-2</c:v>
                </c:pt>
                <c:pt idx="4931">
                  <c:v>1.9114417113271449E-2</c:v>
                </c:pt>
                <c:pt idx="4932">
                  <c:v>1.9272939795128265E-2</c:v>
                </c:pt>
                <c:pt idx="4933">
                  <c:v>1.9706293151452198E-2</c:v>
                </c:pt>
                <c:pt idx="4934">
                  <c:v>2.0079458274964254E-2</c:v>
                </c:pt>
                <c:pt idx="4935">
                  <c:v>2.0408993103117671E-2</c:v>
                </c:pt>
                <c:pt idx="4936">
                  <c:v>2.0960227038438809E-2</c:v>
                </c:pt>
                <c:pt idx="4937">
                  <c:v>2.1313493083233066E-2</c:v>
                </c:pt>
                <c:pt idx="4938">
                  <c:v>2.1448645069889142E-2</c:v>
                </c:pt>
                <c:pt idx="4939">
                  <c:v>2.1561505257599218E-2</c:v>
                </c:pt>
                <c:pt idx="4940">
                  <c:v>2.1531542512454135E-2</c:v>
                </c:pt>
                <c:pt idx="4941">
                  <c:v>2.1349529003524298E-2</c:v>
                </c:pt>
                <c:pt idx="4942">
                  <c:v>2.1021589101245783E-2</c:v>
                </c:pt>
                <c:pt idx="4943">
                  <c:v>2.085017334583723E-2</c:v>
                </c:pt>
                <c:pt idx="4944">
                  <c:v>2.0735806445498814E-2</c:v>
                </c:pt>
                <c:pt idx="4945">
                  <c:v>2.0437212696766096E-2</c:v>
                </c:pt>
                <c:pt idx="4946">
                  <c:v>2.0151736839967758E-2</c:v>
                </c:pt>
                <c:pt idx="4947">
                  <c:v>1.9697493850099376E-2</c:v>
                </c:pt>
                <c:pt idx="4948">
                  <c:v>1.9282867804525483E-2</c:v>
                </c:pt>
                <c:pt idx="4949">
                  <c:v>1.8751517498947982E-2</c:v>
                </c:pt>
                <c:pt idx="4950">
                  <c:v>1.8048941867004745E-2</c:v>
                </c:pt>
                <c:pt idx="4951">
                  <c:v>1.7270343501517047E-2</c:v>
                </c:pt>
                <c:pt idx="4952">
                  <c:v>1.6599940666727916E-2</c:v>
                </c:pt>
                <c:pt idx="4953">
                  <c:v>1.5847535362928274E-2</c:v>
                </c:pt>
                <c:pt idx="4954">
                  <c:v>1.5054697860477471E-2</c:v>
                </c:pt>
                <c:pt idx="4955">
                  <c:v>1.4018840723376936E-2</c:v>
                </c:pt>
                <c:pt idx="4956">
                  <c:v>1.2867188036905435E-2</c:v>
                </c:pt>
                <c:pt idx="4957">
                  <c:v>1.1578437706012381E-2</c:v>
                </c:pt>
                <c:pt idx="4958">
                  <c:v>1.0125049759160357E-2</c:v>
                </c:pt>
                <c:pt idx="4959">
                  <c:v>8.9478324341458713E-3</c:v>
                </c:pt>
                <c:pt idx="4960">
                  <c:v>8.0411375513028023E-3</c:v>
                </c:pt>
                <c:pt idx="4961">
                  <c:v>6.9277183027966812E-3</c:v>
                </c:pt>
                <c:pt idx="4962">
                  <c:v>5.6320574310300842E-3</c:v>
                </c:pt>
                <c:pt idx="4963">
                  <c:v>4.6783004459395056E-3</c:v>
                </c:pt>
                <c:pt idx="4964">
                  <c:v>3.7373163265761178E-3</c:v>
                </c:pt>
                <c:pt idx="4965">
                  <c:v>2.6208603257238169E-3</c:v>
                </c:pt>
                <c:pt idx="4966">
                  <c:v>2.3133213894416587E-3</c:v>
                </c:pt>
                <c:pt idx="4967">
                  <c:v>1.9246377095538478E-3</c:v>
                </c:pt>
                <c:pt idx="4968">
                  <c:v>1.3826506213722993E-3</c:v>
                </c:pt>
                <c:pt idx="4969">
                  <c:v>1.118331692372809E-3</c:v>
                </c:pt>
                <c:pt idx="4970">
                  <c:v>7.3459059792301625E-4</c:v>
                </c:pt>
                <c:pt idx="4971">
                  <c:v>6.3077380036294438E-4</c:v>
                </c:pt>
                <c:pt idx="4972">
                  <c:v>6.1344885933176541E-4</c:v>
                </c:pt>
                <c:pt idx="4973">
                  <c:v>5.779259254481816E-4</c:v>
                </c:pt>
                <c:pt idx="4974">
                  <c:v>5.586896430263827E-4</c:v>
                </c:pt>
                <c:pt idx="4975">
                  <c:v>5.4886669936340862E-4</c:v>
                </c:pt>
                <c:pt idx="4976">
                  <c:v>5.3972052737280996E-4</c:v>
                </c:pt>
                <c:pt idx="4977">
                  <c:v>5.3979417116859526E-4</c:v>
                </c:pt>
                <c:pt idx="4978">
                  <c:v>5.4750467411597754E-4</c:v>
                </c:pt>
                <c:pt idx="4979">
                  <c:v>5.3987890350229385E-4</c:v>
                </c:pt>
                <c:pt idx="4980">
                  <c:v>5.4776943227869974E-4</c:v>
                </c:pt>
                <c:pt idx="4981">
                  <c:v>5.2339404884333232E-4</c:v>
                </c:pt>
                <c:pt idx="4982">
                  <c:v>5.2322188099024477E-4</c:v>
                </c:pt>
                <c:pt idx="4983">
                  <c:v>4.9355955755528316E-4</c:v>
                </c:pt>
                <c:pt idx="4984">
                  <c:v>4.9309114785271203E-4</c:v>
                </c:pt>
                <c:pt idx="4985">
                  <c:v>5.2202306051986043E-4</c:v>
                </c:pt>
                <c:pt idx="4986">
                  <c:v>5.458972795292107E-4</c:v>
                </c:pt>
                <c:pt idx="4987">
                  <c:v>5.5271716162390218E-4</c:v>
                </c:pt>
                <c:pt idx="4988">
                  <c:v>5.5898057682189921E-4</c:v>
                </c:pt>
                <c:pt idx="4989">
                  <c:v>5.3886725354239937E-4</c:v>
                </c:pt>
                <c:pt idx="4990">
                  <c:v>5.1293320965327361E-4</c:v>
                </c:pt>
                <c:pt idx="4991">
                  <c:v>5.1247052692175135E-4</c:v>
                </c:pt>
                <c:pt idx="4992">
                  <c:v>5.3314132746679847E-4</c:v>
                </c:pt>
                <c:pt idx="4993">
                  <c:v>5.3529311850592128E-4</c:v>
                </c:pt>
                <c:pt idx="4994">
                  <c:v>5.1248947098377811E-4</c:v>
                </c:pt>
                <c:pt idx="4995">
                  <c:v>5.0893563104717086E-4</c:v>
                </c:pt>
                <c:pt idx="4996">
                  <c:v>4.7729299079462862E-4</c:v>
                </c:pt>
                <c:pt idx="4997">
                  <c:v>4.8990976305124509E-4</c:v>
                </c:pt>
                <c:pt idx="4998">
                  <c:v>4.9545583173188053E-4</c:v>
                </c:pt>
                <c:pt idx="4999">
                  <c:v>5.0024011369319743E-4</c:v>
                </c:pt>
                <c:pt idx="5000">
                  <c:v>5.0569228793279802E-4</c:v>
                </c:pt>
                <c:pt idx="5001">
                  <c:v>4.7167643161323666E-4</c:v>
                </c:pt>
                <c:pt idx="5002">
                  <c:v>4.7287375496508699E-4</c:v>
                </c:pt>
                <c:pt idx="5003">
                  <c:v>4.7377079999378106E-4</c:v>
                </c:pt>
                <c:pt idx="5004">
                  <c:v>4.7534424865510995E-4</c:v>
                </c:pt>
                <c:pt idx="5005">
                  <c:v>4.7666986587696506E-4</c:v>
                </c:pt>
                <c:pt idx="5006">
                  <c:v>4.7823963776111322E-4</c:v>
                </c:pt>
                <c:pt idx="5007">
                  <c:v>4.7931446086536296E-4</c:v>
                </c:pt>
                <c:pt idx="5008">
                  <c:v>4.7968981052516369E-4</c:v>
                </c:pt>
                <c:pt idx="5009">
                  <c:v>4.8079125630327277E-4</c:v>
                </c:pt>
                <c:pt idx="5010">
                  <c:v>4.9463298045127925E-4</c:v>
                </c:pt>
                <c:pt idx="5011">
                  <c:v>5.0806428559808557E-4</c:v>
                </c:pt>
                <c:pt idx="5012">
                  <c:v>5.2021299900155177E-4</c:v>
                </c:pt>
                <c:pt idx="5013">
                  <c:v>5.2186740166482615E-4</c:v>
                </c:pt>
                <c:pt idx="5014">
                  <c:v>5.2510155750687892E-4</c:v>
                </c:pt>
                <c:pt idx="5015">
                  <c:v>5.1565106276713004E-4</c:v>
                </c:pt>
                <c:pt idx="5016">
                  <c:v>4.7825436480749086E-4</c:v>
                </c:pt>
                <c:pt idx="5017">
                  <c:v>4.7387826334958997E-4</c:v>
                </c:pt>
                <c:pt idx="5018">
                  <c:v>4.893433855877843E-4</c:v>
                </c:pt>
                <c:pt idx="5019">
                  <c:v>4.9611797167430376E-4</c:v>
                </c:pt>
                <c:pt idx="5020">
                  <c:v>4.9641247494388208E-4</c:v>
                </c:pt>
                <c:pt idx="5021">
                  <c:v>4.9542645697188447E-4</c:v>
                </c:pt>
                <c:pt idx="5022">
                  <c:v>4.9450778970693042E-4</c:v>
                </c:pt>
                <c:pt idx="5023">
                  <c:v>4.9523513785018896E-4</c:v>
                </c:pt>
                <c:pt idx="5024">
                  <c:v>5.0639413827577361E-4</c:v>
                </c:pt>
                <c:pt idx="5025">
                  <c:v>4.8896852730923317E-4</c:v>
                </c:pt>
                <c:pt idx="5026">
                  <c:v>4.8809846780924432E-4</c:v>
                </c:pt>
                <c:pt idx="5027">
                  <c:v>4.7491112827920926E-4</c:v>
                </c:pt>
                <c:pt idx="5028">
                  <c:v>4.7136322858164545E-4</c:v>
                </c:pt>
                <c:pt idx="5029">
                  <c:v>4.6751051181296671E-4</c:v>
                </c:pt>
                <c:pt idx="5030">
                  <c:v>4.6515432164739428E-4</c:v>
                </c:pt>
                <c:pt idx="5031">
                  <c:v>4.017703675715965E-4</c:v>
                </c:pt>
                <c:pt idx="5032">
                  <c:v>4.0225219126314326E-4</c:v>
                </c:pt>
                <c:pt idx="5033">
                  <c:v>4.0225986418508327E-4</c:v>
                </c:pt>
                <c:pt idx="5034">
                  <c:v>4.0292102371171178E-4</c:v>
                </c:pt>
                <c:pt idx="5035">
                  <c:v>4.0925345459380508E-4</c:v>
                </c:pt>
                <c:pt idx="5036">
                  <c:v>4.2134707823621972E-4</c:v>
                </c:pt>
                <c:pt idx="5037">
                  <c:v>4.2719616627834078E-4</c:v>
                </c:pt>
                <c:pt idx="5038">
                  <c:v>4.5299088318761198E-4</c:v>
                </c:pt>
                <c:pt idx="5039">
                  <c:v>4.9034722069147738E-4</c:v>
                </c:pt>
                <c:pt idx="5040">
                  <c:v>5.0197051038932533E-4</c:v>
                </c:pt>
                <c:pt idx="5041">
                  <c:v>4.9072988386700874E-4</c:v>
                </c:pt>
                <c:pt idx="5042">
                  <c:v>5.1615562608733434E-4</c:v>
                </c:pt>
                <c:pt idx="5043">
                  <c:v>5.3203716260609814E-4</c:v>
                </c:pt>
                <c:pt idx="5044">
                  <c:v>5.3014044273352314E-4</c:v>
                </c:pt>
                <c:pt idx="5045">
                  <c:v>5.1872014401483984E-4</c:v>
                </c:pt>
                <c:pt idx="5046">
                  <c:v>5.2853917518056761E-4</c:v>
                </c:pt>
                <c:pt idx="5047">
                  <c:v>5.3332086087647676E-4</c:v>
                </c:pt>
                <c:pt idx="5048">
                  <c:v>5.3533118344235311E-4</c:v>
                </c:pt>
                <c:pt idx="5049">
                  <c:v>5.3393037333410501E-4</c:v>
                </c:pt>
                <c:pt idx="5050">
                  <c:v>5.4295228043885169E-4</c:v>
                </c:pt>
                <c:pt idx="5051">
                  <c:v>5.7325246148359061E-4</c:v>
                </c:pt>
                <c:pt idx="5052">
                  <c:v>6.1367637527994412E-4</c:v>
                </c:pt>
                <c:pt idx="5053">
                  <c:v>6.252320170292223E-4</c:v>
                </c:pt>
                <c:pt idx="5054">
                  <c:v>6.2635067481131318E-4</c:v>
                </c:pt>
                <c:pt idx="5055">
                  <c:v>6.7592270480178456E-4</c:v>
                </c:pt>
                <c:pt idx="5056">
                  <c:v>6.8372230485801004E-4</c:v>
                </c:pt>
                <c:pt idx="5057">
                  <c:v>6.9203045929923086E-4</c:v>
                </c:pt>
                <c:pt idx="5058">
                  <c:v>7.1098015819747774E-4</c:v>
                </c:pt>
                <c:pt idx="5059">
                  <c:v>7.2911093779476691E-4</c:v>
                </c:pt>
                <c:pt idx="5060">
                  <c:v>7.4471673059851428E-4</c:v>
                </c:pt>
                <c:pt idx="5061">
                  <c:v>7.7195537618801797E-4</c:v>
                </c:pt>
                <c:pt idx="5062">
                  <c:v>8.2506804437938903E-4</c:v>
                </c:pt>
                <c:pt idx="5063">
                  <c:v>8.5933342990870466E-4</c:v>
                </c:pt>
                <c:pt idx="5064">
                  <c:v>8.7267340730939522E-4</c:v>
                </c:pt>
                <c:pt idx="5065">
                  <c:v>9.1007824618801999E-4</c:v>
                </c:pt>
                <c:pt idx="5066">
                  <c:v>9.3222725882875139E-4</c:v>
                </c:pt>
                <c:pt idx="5067">
                  <c:v>9.5093726309574919E-4</c:v>
                </c:pt>
                <c:pt idx="5068">
                  <c:v>9.6347464374093E-4</c:v>
                </c:pt>
                <c:pt idx="5069">
                  <c:v>9.7329869475550534E-4</c:v>
                </c:pt>
                <c:pt idx="5070">
                  <c:v>1.0031560720560615E-3</c:v>
                </c:pt>
                <c:pt idx="5071">
                  <c:v>1.0302822612758117E-3</c:v>
                </c:pt>
                <c:pt idx="5072">
                  <c:v>1.0096088023504473E-3</c:v>
                </c:pt>
                <c:pt idx="5073">
                  <c:v>1.1989833507513098E-3</c:v>
                </c:pt>
                <c:pt idx="5074">
                  <c:v>1.5102713048189211E-3</c:v>
                </c:pt>
                <c:pt idx="5075">
                  <c:v>2.9501928445881181E-3</c:v>
                </c:pt>
                <c:pt idx="5076">
                  <c:v>4.7666923315512191E-3</c:v>
                </c:pt>
                <c:pt idx="5077">
                  <c:v>5.9086416031830947E-3</c:v>
                </c:pt>
                <c:pt idx="5078">
                  <c:v>7.0012918398452834E-3</c:v>
                </c:pt>
                <c:pt idx="5079">
                  <c:v>8.3277620349251694E-3</c:v>
                </c:pt>
                <c:pt idx="5080">
                  <c:v>9.7771603383151832E-3</c:v>
                </c:pt>
                <c:pt idx="5081">
                  <c:v>1.096236523577598E-2</c:v>
                </c:pt>
                <c:pt idx="5082">
                  <c:v>1.2645851808321291E-2</c:v>
                </c:pt>
                <c:pt idx="5083">
                  <c:v>1.4004697935083004E-2</c:v>
                </c:pt>
                <c:pt idx="5084">
                  <c:v>1.5500859170229172E-2</c:v>
                </c:pt>
                <c:pt idx="5085">
                  <c:v>1.7238845195080593E-2</c:v>
                </c:pt>
                <c:pt idx="5086">
                  <c:v>1.8915900330090409E-2</c:v>
                </c:pt>
                <c:pt idx="5087">
                  <c:v>2.0685986326929466E-2</c:v>
                </c:pt>
                <c:pt idx="5088">
                  <c:v>2.2429620492283909E-2</c:v>
                </c:pt>
                <c:pt idx="5089">
                  <c:v>2.3860823868239969E-2</c:v>
                </c:pt>
                <c:pt idx="5090">
                  <c:v>2.5266547802665736E-2</c:v>
                </c:pt>
                <c:pt idx="5091">
                  <c:v>2.6903582727398834E-2</c:v>
                </c:pt>
                <c:pt idx="5092">
                  <c:v>2.8262229410604096E-2</c:v>
                </c:pt>
                <c:pt idx="5093">
                  <c:v>2.9419419340615042E-2</c:v>
                </c:pt>
                <c:pt idx="5094">
                  <c:v>3.05534677308021E-2</c:v>
                </c:pt>
                <c:pt idx="5095">
                  <c:v>3.1792294487961031E-2</c:v>
                </c:pt>
                <c:pt idx="5096">
                  <c:v>3.2911273202590199E-2</c:v>
                </c:pt>
                <c:pt idx="5097">
                  <c:v>3.3770902870546259E-2</c:v>
                </c:pt>
                <c:pt idx="5098">
                  <c:v>3.4412007149548486E-2</c:v>
                </c:pt>
                <c:pt idx="5099">
                  <c:v>3.4683982865831332E-2</c:v>
                </c:pt>
                <c:pt idx="5100">
                  <c:v>3.4842799102550844E-2</c:v>
                </c:pt>
                <c:pt idx="5101">
                  <c:v>3.4683012741270898E-2</c:v>
                </c:pt>
                <c:pt idx="5102">
                  <c:v>3.4197227397115754E-2</c:v>
                </c:pt>
                <c:pt idx="5103">
                  <c:v>3.3457950178004181E-2</c:v>
                </c:pt>
                <c:pt idx="5104">
                  <c:v>3.2598525894676246E-2</c:v>
                </c:pt>
                <c:pt idx="5105">
                  <c:v>3.1886371068092417E-2</c:v>
                </c:pt>
                <c:pt idx="5106">
                  <c:v>3.1312749118675418E-2</c:v>
                </c:pt>
                <c:pt idx="5107">
                  <c:v>3.0502368642662731E-2</c:v>
                </c:pt>
                <c:pt idx="5108">
                  <c:v>2.9665010063972482E-2</c:v>
                </c:pt>
                <c:pt idx="5109">
                  <c:v>2.9000137169579641E-2</c:v>
                </c:pt>
                <c:pt idx="5110">
                  <c:v>2.8264215624292859E-2</c:v>
                </c:pt>
                <c:pt idx="5111">
                  <c:v>2.7195875724731079E-2</c:v>
                </c:pt>
                <c:pt idx="5112">
                  <c:v>2.7000378129061628E-2</c:v>
                </c:pt>
                <c:pt idx="5113">
                  <c:v>2.6506966388465489E-2</c:v>
                </c:pt>
                <c:pt idx="5114">
                  <c:v>2.6009233624228537E-2</c:v>
                </c:pt>
                <c:pt idx="5115">
                  <c:v>2.5736121364117834E-2</c:v>
                </c:pt>
                <c:pt idx="5116">
                  <c:v>2.5328380003974062E-2</c:v>
                </c:pt>
                <c:pt idx="5117">
                  <c:v>2.547162581446023E-2</c:v>
                </c:pt>
                <c:pt idx="5118">
                  <c:v>2.5745602487132289E-2</c:v>
                </c:pt>
                <c:pt idx="5119">
                  <c:v>2.6621712863414058E-2</c:v>
                </c:pt>
                <c:pt idx="5120">
                  <c:v>2.7575387236000407E-2</c:v>
                </c:pt>
                <c:pt idx="5121">
                  <c:v>2.9540110052821617E-2</c:v>
                </c:pt>
                <c:pt idx="5122">
                  <c:v>3.1024081235409322E-2</c:v>
                </c:pt>
                <c:pt idx="5123">
                  <c:v>3.2407978953386207E-2</c:v>
                </c:pt>
                <c:pt idx="5124">
                  <c:v>3.3975381287874126E-2</c:v>
                </c:pt>
                <c:pt idx="5125">
                  <c:v>3.559864749557673E-2</c:v>
                </c:pt>
                <c:pt idx="5126">
                  <c:v>3.6978396165398608E-2</c:v>
                </c:pt>
                <c:pt idx="5127">
                  <c:v>3.9095504793599384E-2</c:v>
                </c:pt>
                <c:pt idx="5128">
                  <c:v>4.1030740859053318E-2</c:v>
                </c:pt>
                <c:pt idx="5129">
                  <c:v>4.3266700752490755E-2</c:v>
                </c:pt>
                <c:pt idx="5130">
                  <c:v>4.6292819168547286E-2</c:v>
                </c:pt>
                <c:pt idx="5131">
                  <c:v>4.8943420318282881E-2</c:v>
                </c:pt>
                <c:pt idx="5132">
                  <c:v>5.1131108726426365E-2</c:v>
                </c:pt>
                <c:pt idx="5133">
                  <c:v>5.2942234435702673E-2</c:v>
                </c:pt>
                <c:pt idx="5134">
                  <c:v>5.4904757006820265E-2</c:v>
                </c:pt>
                <c:pt idx="5135">
                  <c:v>5.6333099035512577E-2</c:v>
                </c:pt>
                <c:pt idx="5136">
                  <c:v>5.7636728719004798E-2</c:v>
                </c:pt>
                <c:pt idx="5137">
                  <c:v>5.8481192670657212E-2</c:v>
                </c:pt>
                <c:pt idx="5138">
                  <c:v>6.803373568963561E-2</c:v>
                </c:pt>
                <c:pt idx="5139">
                  <c:v>8.40006119514108E-2</c:v>
                </c:pt>
                <c:pt idx="5140">
                  <c:v>0.10171211787456745</c:v>
                </c:pt>
                <c:pt idx="5141">
                  <c:v>0.1063247726555112</c:v>
                </c:pt>
                <c:pt idx="5142">
                  <c:v>0.10561468670804154</c:v>
                </c:pt>
                <c:pt idx="5143">
                  <c:v>0.10469282516941965</c:v>
                </c:pt>
                <c:pt idx="5144">
                  <c:v>0.1035151957448128</c:v>
                </c:pt>
                <c:pt idx="5145">
                  <c:v>0.10222498544738315</c:v>
                </c:pt>
                <c:pt idx="5146">
                  <c:v>0.10043442199067092</c:v>
                </c:pt>
                <c:pt idx="5147">
                  <c:v>9.8961191417107297E-2</c:v>
                </c:pt>
                <c:pt idx="5148">
                  <c:v>9.7306795068536622E-2</c:v>
                </c:pt>
                <c:pt idx="5149">
                  <c:v>9.5712144329789028E-2</c:v>
                </c:pt>
                <c:pt idx="5150">
                  <c:v>9.4103057243722713E-2</c:v>
                </c:pt>
                <c:pt idx="5151">
                  <c:v>9.2802837865240392E-2</c:v>
                </c:pt>
                <c:pt idx="5152">
                  <c:v>9.1304822751087644E-2</c:v>
                </c:pt>
                <c:pt idx="5153">
                  <c:v>8.9761458364406174E-2</c:v>
                </c:pt>
                <c:pt idx="5154">
                  <c:v>8.8175098280924138E-2</c:v>
                </c:pt>
                <c:pt idx="5155">
                  <c:v>8.630796733596606E-2</c:v>
                </c:pt>
                <c:pt idx="5156">
                  <c:v>8.3959083968576861E-2</c:v>
                </c:pt>
                <c:pt idx="5157">
                  <c:v>8.2080142690619307E-2</c:v>
                </c:pt>
                <c:pt idx="5158">
                  <c:v>8.0018190269685166E-2</c:v>
                </c:pt>
                <c:pt idx="5159">
                  <c:v>7.8361758553051344E-2</c:v>
                </c:pt>
                <c:pt idx="5160">
                  <c:v>7.7318536627729223E-2</c:v>
                </c:pt>
                <c:pt idx="5161">
                  <c:v>7.6285905390708952E-2</c:v>
                </c:pt>
                <c:pt idx="5162">
                  <c:v>7.5263136208308018E-2</c:v>
                </c:pt>
                <c:pt idx="5163">
                  <c:v>7.4240887922539689E-2</c:v>
                </c:pt>
                <c:pt idx="5164">
                  <c:v>7.3420147036050529E-2</c:v>
                </c:pt>
                <c:pt idx="5165">
                  <c:v>7.2620330042674985E-2</c:v>
                </c:pt>
                <c:pt idx="5166">
                  <c:v>7.1947315235114051E-2</c:v>
                </c:pt>
                <c:pt idx="5167">
                  <c:v>7.1290041390353096E-2</c:v>
                </c:pt>
                <c:pt idx="5168">
                  <c:v>7.0291104286713396E-2</c:v>
                </c:pt>
                <c:pt idx="5169">
                  <c:v>6.4718367233582083E-2</c:v>
                </c:pt>
                <c:pt idx="5170">
                  <c:v>4.7086919869493614E-2</c:v>
                </c:pt>
                <c:pt idx="5171">
                  <c:v>2.9547573476259893E-2</c:v>
                </c:pt>
                <c:pt idx="5172">
                  <c:v>4.3131733958084673E-2</c:v>
                </c:pt>
                <c:pt idx="5173">
                  <c:v>6.0061513348269417E-2</c:v>
                </c:pt>
                <c:pt idx="5174">
                  <c:v>7.580053471087822E-2</c:v>
                </c:pt>
                <c:pt idx="5175">
                  <c:v>8.6744501449914524E-2</c:v>
                </c:pt>
                <c:pt idx="5176">
                  <c:v>9.5235900954505071E-2</c:v>
                </c:pt>
                <c:pt idx="5177">
                  <c:v>0.10243801664071699</c:v>
                </c:pt>
                <c:pt idx="5178">
                  <c:v>0.1083644716848583</c:v>
                </c:pt>
                <c:pt idx="5179">
                  <c:v>0.1137357127002062</c:v>
                </c:pt>
                <c:pt idx="5180">
                  <c:v>0.11801148451294835</c:v>
                </c:pt>
                <c:pt idx="5181">
                  <c:v>0.12182020047075254</c:v>
                </c:pt>
                <c:pt idx="5182">
                  <c:v>0.12563161241584231</c:v>
                </c:pt>
                <c:pt idx="5183">
                  <c:v>0.12795766341688375</c:v>
                </c:pt>
                <c:pt idx="5184">
                  <c:v>0.13022553801782247</c:v>
                </c:pt>
                <c:pt idx="5185">
                  <c:v>0.13146050015297125</c:v>
                </c:pt>
                <c:pt idx="5186">
                  <c:v>0.13235993685179601</c:v>
                </c:pt>
                <c:pt idx="5187">
                  <c:v>0.13343427574297889</c:v>
                </c:pt>
                <c:pt idx="5188">
                  <c:v>0.13357602217633485</c:v>
                </c:pt>
                <c:pt idx="5189">
                  <c:v>0.13352931392391137</c:v>
                </c:pt>
                <c:pt idx="5190">
                  <c:v>0.13505528472896711</c:v>
                </c:pt>
                <c:pt idx="5191">
                  <c:v>0.1371578886503389</c:v>
                </c:pt>
                <c:pt idx="5192">
                  <c:v>0.13747877233485864</c:v>
                </c:pt>
                <c:pt idx="5193">
                  <c:v>0.1373657968853145</c:v>
                </c:pt>
                <c:pt idx="5194">
                  <c:v>0.13529426735015468</c:v>
                </c:pt>
                <c:pt idx="5195">
                  <c:v>0.13210108048319263</c:v>
                </c:pt>
                <c:pt idx="5196">
                  <c:v>0.1284201732036688</c:v>
                </c:pt>
                <c:pt idx="5197">
                  <c:v>0.1225998265633443</c:v>
                </c:pt>
                <c:pt idx="5198">
                  <c:v>0.11587254489557743</c:v>
                </c:pt>
                <c:pt idx="5199">
                  <c:v>0.10686653696424057</c:v>
                </c:pt>
                <c:pt idx="5200">
                  <c:v>9.6878866532888436E-2</c:v>
                </c:pt>
                <c:pt idx="5201">
                  <c:v>8.6340040396584175E-2</c:v>
                </c:pt>
                <c:pt idx="5202">
                  <c:v>8.0760283245527517E-2</c:v>
                </c:pt>
                <c:pt idx="5203">
                  <c:v>7.9314521734038815E-2</c:v>
                </c:pt>
                <c:pt idx="5204">
                  <c:v>7.9930989705780608E-2</c:v>
                </c:pt>
                <c:pt idx="5205">
                  <c:v>8.1463640120750691E-2</c:v>
                </c:pt>
                <c:pt idx="5206">
                  <c:v>8.4995405340841892E-2</c:v>
                </c:pt>
                <c:pt idx="5207">
                  <c:v>8.8302713587536857E-2</c:v>
                </c:pt>
                <c:pt idx="5208">
                  <c:v>9.0237246288140283E-2</c:v>
                </c:pt>
                <c:pt idx="5209">
                  <c:v>9.1655088145158381E-2</c:v>
                </c:pt>
                <c:pt idx="5210">
                  <c:v>9.1975671915227264E-2</c:v>
                </c:pt>
                <c:pt idx="5211">
                  <c:v>9.268376855963241E-2</c:v>
                </c:pt>
                <c:pt idx="5212">
                  <c:v>9.266378253678241E-2</c:v>
                </c:pt>
                <c:pt idx="5213">
                  <c:v>9.1435004719950502E-2</c:v>
                </c:pt>
                <c:pt idx="5214">
                  <c:v>9.0204497304939887E-2</c:v>
                </c:pt>
                <c:pt idx="5215">
                  <c:v>8.8276558639824088E-2</c:v>
                </c:pt>
                <c:pt idx="5216">
                  <c:v>8.7233907930607049E-2</c:v>
                </c:pt>
                <c:pt idx="5217">
                  <c:v>8.6675928370115063E-2</c:v>
                </c:pt>
                <c:pt idx="5218">
                  <c:v>8.4000902311020087E-2</c:v>
                </c:pt>
                <c:pt idx="5219">
                  <c:v>8.159853364735252E-2</c:v>
                </c:pt>
                <c:pt idx="5220">
                  <c:v>8.4102891379423922E-2</c:v>
                </c:pt>
                <c:pt idx="5221">
                  <c:v>8.6970353664780758E-2</c:v>
                </c:pt>
                <c:pt idx="5222">
                  <c:v>8.9963610070236025E-2</c:v>
                </c:pt>
                <c:pt idx="5223">
                  <c:v>9.1854791343950984E-2</c:v>
                </c:pt>
                <c:pt idx="5224">
                  <c:v>9.3167361513420643E-2</c:v>
                </c:pt>
                <c:pt idx="5225">
                  <c:v>9.3227780323064613E-2</c:v>
                </c:pt>
                <c:pt idx="5226">
                  <c:v>9.3777729758942968E-2</c:v>
                </c:pt>
                <c:pt idx="5227">
                  <c:v>9.2455208825019328E-2</c:v>
                </c:pt>
                <c:pt idx="5228">
                  <c:v>9.1554021810192371E-2</c:v>
                </c:pt>
                <c:pt idx="5229">
                  <c:v>9.0015260007572914E-2</c:v>
                </c:pt>
                <c:pt idx="5230">
                  <c:v>8.8566325817701255E-2</c:v>
                </c:pt>
                <c:pt idx="5231">
                  <c:v>8.7162845253172638E-2</c:v>
                </c:pt>
                <c:pt idx="5232">
                  <c:v>8.4961886092154326E-2</c:v>
                </c:pt>
                <c:pt idx="5233">
                  <c:v>8.1363685362632734E-2</c:v>
                </c:pt>
                <c:pt idx="5234">
                  <c:v>7.636977283553055E-2</c:v>
                </c:pt>
                <c:pt idx="5235">
                  <c:v>6.6753408316351542E-2</c:v>
                </c:pt>
                <c:pt idx="5236">
                  <c:v>6.6362557807859573E-2</c:v>
                </c:pt>
                <c:pt idx="5237">
                  <c:v>6.6101472074520773E-2</c:v>
                </c:pt>
                <c:pt idx="5238">
                  <c:v>6.5755291409995878E-2</c:v>
                </c:pt>
                <c:pt idx="5239">
                  <c:v>6.535159358021625E-2</c:v>
                </c:pt>
                <c:pt idx="5240">
                  <c:v>6.5447099273647308E-2</c:v>
                </c:pt>
                <c:pt idx="5241">
                  <c:v>6.5478330925396525E-2</c:v>
                </c:pt>
                <c:pt idx="5242">
                  <c:v>6.505857658163193E-2</c:v>
                </c:pt>
                <c:pt idx="5243">
                  <c:v>6.4331579411223513E-2</c:v>
                </c:pt>
                <c:pt idx="5244">
                  <c:v>6.8165014147803626E-2</c:v>
                </c:pt>
                <c:pt idx="5245">
                  <c:v>6.8822620545653357E-2</c:v>
                </c:pt>
                <c:pt idx="5246">
                  <c:v>8.4320265373331454E-2</c:v>
                </c:pt>
                <c:pt idx="5247">
                  <c:v>8.9148622745793688E-2</c:v>
                </c:pt>
                <c:pt idx="5248">
                  <c:v>9.0806522943537166E-2</c:v>
                </c:pt>
                <c:pt idx="5249">
                  <c:v>0.10094630038702668</c:v>
                </c:pt>
                <c:pt idx="5250">
                  <c:v>0.11975163823715103</c:v>
                </c:pt>
                <c:pt idx="5251">
                  <c:v>0.13761318051004051</c:v>
                </c:pt>
                <c:pt idx="5252">
                  <c:v>0.15539701354531982</c:v>
                </c:pt>
                <c:pt idx="5253">
                  <c:v>0.16962889515628934</c:v>
                </c:pt>
                <c:pt idx="5254">
                  <c:v>0.18128597979067235</c:v>
                </c:pt>
                <c:pt idx="5255">
                  <c:v>0.1901624018583575</c:v>
                </c:pt>
                <c:pt idx="5256">
                  <c:v>0.19721719560072679</c:v>
                </c:pt>
                <c:pt idx="5257">
                  <c:v>0.2017258749852113</c:v>
                </c:pt>
                <c:pt idx="5258">
                  <c:v>0.2050359956358343</c:v>
                </c:pt>
                <c:pt idx="5259">
                  <c:v>0.20769405699175519</c:v>
                </c:pt>
                <c:pt idx="5260">
                  <c:v>0.20902505321558634</c:v>
                </c:pt>
                <c:pt idx="5261">
                  <c:v>0.20968316900500464</c:v>
                </c:pt>
                <c:pt idx="5262">
                  <c:v>0.20859398145220479</c:v>
                </c:pt>
                <c:pt idx="5263">
                  <c:v>0.20670511178596299</c:v>
                </c:pt>
                <c:pt idx="5264">
                  <c:v>0.2035124411600929</c:v>
                </c:pt>
                <c:pt idx="5265">
                  <c:v>0.19882302343286887</c:v>
                </c:pt>
                <c:pt idx="5266">
                  <c:v>0.19328587694963031</c:v>
                </c:pt>
                <c:pt idx="5267">
                  <c:v>0.18634677693183518</c:v>
                </c:pt>
                <c:pt idx="5268">
                  <c:v>0.17852523089330236</c:v>
                </c:pt>
                <c:pt idx="5269">
                  <c:v>0.17039086108485052</c:v>
                </c:pt>
                <c:pt idx="5270">
                  <c:v>0.16111768541895138</c:v>
                </c:pt>
                <c:pt idx="5271">
                  <c:v>0.15032638382019586</c:v>
                </c:pt>
                <c:pt idx="5272">
                  <c:v>0.13868877413540665</c:v>
                </c:pt>
                <c:pt idx="5273">
                  <c:v>0.12442094409475637</c:v>
                </c:pt>
                <c:pt idx="5274">
                  <c:v>0.11115096966265206</c:v>
                </c:pt>
                <c:pt idx="5275">
                  <c:v>9.4261073636448173E-2</c:v>
                </c:pt>
                <c:pt idx="5276">
                  <c:v>8.3048308782219582E-2</c:v>
                </c:pt>
                <c:pt idx="5277">
                  <c:v>6.6237004483141598E-2</c:v>
                </c:pt>
                <c:pt idx="5278">
                  <c:v>3.4677954107125313E-2</c:v>
                </c:pt>
                <c:pt idx="5279">
                  <c:v>1.2316731036562258E-2</c:v>
                </c:pt>
                <c:pt idx="5280">
                  <c:v>-9.4620364101160714E-4</c:v>
                </c:pt>
                <c:pt idx="5281">
                  <c:v>-1.0424125094899542E-2</c:v>
                </c:pt>
                <c:pt idx="5282">
                  <c:v>-1.3595764843796692E-2</c:v>
                </c:pt>
                <c:pt idx="5283">
                  <c:v>-1.5133779827986752E-2</c:v>
                </c:pt>
                <c:pt idx="5284">
                  <c:v>-1.6721788752830334E-2</c:v>
                </c:pt>
                <c:pt idx="5285">
                  <c:v>-1.7789185719868827E-2</c:v>
                </c:pt>
                <c:pt idx="5286">
                  <c:v>-1.8946262802822456E-2</c:v>
                </c:pt>
                <c:pt idx="5287">
                  <c:v>-2.0591345657892342E-2</c:v>
                </c:pt>
                <c:pt idx="5288">
                  <c:v>-2.2698875909861534E-2</c:v>
                </c:pt>
                <c:pt idx="5289">
                  <c:v>-2.5165099944887085E-2</c:v>
                </c:pt>
                <c:pt idx="5290">
                  <c:v>-2.7904651275501707E-2</c:v>
                </c:pt>
                <c:pt idx="5291">
                  <c:v>-2.9418400273717921E-2</c:v>
                </c:pt>
                <c:pt idx="5292">
                  <c:v>-3.1521546231901426E-2</c:v>
                </c:pt>
                <c:pt idx="5293">
                  <c:v>-3.3081820133814457E-2</c:v>
                </c:pt>
                <c:pt idx="5294">
                  <c:v>-3.4344458536084033E-2</c:v>
                </c:pt>
                <c:pt idx="5295">
                  <c:v>-3.5670058329931156E-2</c:v>
                </c:pt>
                <c:pt idx="5296">
                  <c:v>-3.6495964344266094E-2</c:v>
                </c:pt>
                <c:pt idx="5297">
                  <c:v>-3.7057375349031564E-2</c:v>
                </c:pt>
                <c:pt idx="5298">
                  <c:v>-3.7441739602464323E-2</c:v>
                </c:pt>
                <c:pt idx="5299">
                  <c:v>-3.7521338312162957E-2</c:v>
                </c:pt>
                <c:pt idx="5300">
                  <c:v>-3.7216821909090668E-2</c:v>
                </c:pt>
                <c:pt idx="5301">
                  <c:v>-3.710439746586304E-2</c:v>
                </c:pt>
                <c:pt idx="5302">
                  <c:v>-3.5634787393075455E-2</c:v>
                </c:pt>
                <c:pt idx="5303">
                  <c:v>-3.3587537288843672E-2</c:v>
                </c:pt>
                <c:pt idx="5304">
                  <c:v>-3.1153350886255468E-2</c:v>
                </c:pt>
                <c:pt idx="5305">
                  <c:v>-2.6372047574461807E-2</c:v>
                </c:pt>
                <c:pt idx="5306">
                  <c:v>-2.248403480686037E-2</c:v>
                </c:pt>
                <c:pt idx="5307">
                  <c:v>-1.8990315726338691E-2</c:v>
                </c:pt>
                <c:pt idx="5308">
                  <c:v>-1.5562172315218186E-2</c:v>
                </c:pt>
                <c:pt idx="5309">
                  <c:v>-1.1658273268741701E-2</c:v>
                </c:pt>
                <c:pt idx="5310">
                  <c:v>-3.6423264081424894E-3</c:v>
                </c:pt>
                <c:pt idx="5311">
                  <c:v>2.5704938173473648E-3</c:v>
                </c:pt>
                <c:pt idx="5312">
                  <c:v>7.0034101426265805E-3</c:v>
                </c:pt>
                <c:pt idx="5313">
                  <c:v>1.1636431950090597E-2</c:v>
                </c:pt>
                <c:pt idx="5314">
                  <c:v>1.5733369071908219E-2</c:v>
                </c:pt>
                <c:pt idx="5315">
                  <c:v>2.0389309898412755E-2</c:v>
                </c:pt>
                <c:pt idx="5316">
                  <c:v>2.4847391793483439E-2</c:v>
                </c:pt>
                <c:pt idx="5317">
                  <c:v>2.7752957655521361E-2</c:v>
                </c:pt>
                <c:pt idx="5318">
                  <c:v>3.0547011374366839E-2</c:v>
                </c:pt>
                <c:pt idx="5319">
                  <c:v>3.2132704374966618E-2</c:v>
                </c:pt>
                <c:pt idx="5320">
                  <c:v>3.2421392473943704E-2</c:v>
                </c:pt>
                <c:pt idx="5321">
                  <c:v>3.3556055836683737E-2</c:v>
                </c:pt>
                <c:pt idx="5322">
                  <c:v>3.3709224165552228E-2</c:v>
                </c:pt>
                <c:pt idx="5323">
                  <c:v>3.398039231099436E-2</c:v>
                </c:pt>
                <c:pt idx="5324">
                  <c:v>3.4040953245663787E-2</c:v>
                </c:pt>
                <c:pt idx="5325">
                  <c:v>3.4210157729576862E-2</c:v>
                </c:pt>
                <c:pt idx="5326">
                  <c:v>3.4643499903066692E-2</c:v>
                </c:pt>
                <c:pt idx="5327">
                  <c:v>3.4363447519249954E-2</c:v>
                </c:pt>
                <c:pt idx="5328">
                  <c:v>3.4359227142433162E-2</c:v>
                </c:pt>
                <c:pt idx="5329">
                  <c:v>3.374761864432297E-2</c:v>
                </c:pt>
                <c:pt idx="5330">
                  <c:v>3.3821101475820299E-2</c:v>
                </c:pt>
                <c:pt idx="5331">
                  <c:v>3.3326580299639474E-2</c:v>
                </c:pt>
                <c:pt idx="5332">
                  <c:v>3.2537707339315262E-2</c:v>
                </c:pt>
                <c:pt idx="5333">
                  <c:v>3.1454866528764759E-2</c:v>
                </c:pt>
                <c:pt idx="5334">
                  <c:v>2.9460280365562943E-2</c:v>
                </c:pt>
                <c:pt idx="5335">
                  <c:v>2.841735337932513E-2</c:v>
                </c:pt>
                <c:pt idx="5336">
                  <c:v>2.7113245008645082E-2</c:v>
                </c:pt>
                <c:pt idx="5337">
                  <c:v>2.5520267145209483E-2</c:v>
                </c:pt>
                <c:pt idx="5338">
                  <c:v>2.3999814421780202E-2</c:v>
                </c:pt>
                <c:pt idx="5339">
                  <c:v>2.2720476490134037E-2</c:v>
                </c:pt>
                <c:pt idx="5340">
                  <c:v>2.3500040437050569E-2</c:v>
                </c:pt>
                <c:pt idx="5341">
                  <c:v>2.4462916169021302E-2</c:v>
                </c:pt>
                <c:pt idx="5342">
                  <c:v>2.5192850612774303E-2</c:v>
                </c:pt>
                <c:pt idx="5343">
                  <c:v>2.6120563142544895E-2</c:v>
                </c:pt>
                <c:pt idx="5344">
                  <c:v>2.7065221035643725E-2</c:v>
                </c:pt>
                <c:pt idx="5345">
                  <c:v>2.8178522936187993E-2</c:v>
                </c:pt>
                <c:pt idx="5346">
                  <c:v>2.9219003900127528E-2</c:v>
                </c:pt>
                <c:pt idx="5347">
                  <c:v>2.9788200375088298E-2</c:v>
                </c:pt>
                <c:pt idx="5348">
                  <c:v>3.0409580532685502E-2</c:v>
                </c:pt>
                <c:pt idx="5349">
                  <c:v>3.1287517676567081E-2</c:v>
                </c:pt>
                <c:pt idx="5350">
                  <c:v>3.1415405548869284E-2</c:v>
                </c:pt>
                <c:pt idx="5351">
                  <c:v>3.2299490893303966E-2</c:v>
                </c:pt>
                <c:pt idx="5352">
                  <c:v>3.302429156564083E-2</c:v>
                </c:pt>
                <c:pt idx="5353">
                  <c:v>3.410414002244868E-2</c:v>
                </c:pt>
                <c:pt idx="5354">
                  <c:v>3.4324668986062658E-2</c:v>
                </c:pt>
                <c:pt idx="5355">
                  <c:v>3.4523496463069188E-2</c:v>
                </c:pt>
                <c:pt idx="5356">
                  <c:v>3.4478540376704142E-2</c:v>
                </c:pt>
                <c:pt idx="5357">
                  <c:v>3.4396877043887601E-2</c:v>
                </c:pt>
                <c:pt idx="5358">
                  <c:v>3.4570335915004725E-2</c:v>
                </c:pt>
                <c:pt idx="5359">
                  <c:v>3.423686761770231E-2</c:v>
                </c:pt>
                <c:pt idx="5360">
                  <c:v>3.4737916190025732E-2</c:v>
                </c:pt>
                <c:pt idx="5361">
                  <c:v>3.4593441643689549E-2</c:v>
                </c:pt>
                <c:pt idx="5362">
                  <c:v>3.4814579258496736E-2</c:v>
                </c:pt>
                <c:pt idx="5363">
                  <c:v>3.4708853628026858E-2</c:v>
                </c:pt>
                <c:pt idx="5364">
                  <c:v>3.4015348113534953E-2</c:v>
                </c:pt>
                <c:pt idx="5365">
                  <c:v>3.3867548665544159E-2</c:v>
                </c:pt>
                <c:pt idx="5366">
                  <c:v>3.393687539605663E-2</c:v>
                </c:pt>
                <c:pt idx="5367">
                  <c:v>3.4030016340387742E-2</c:v>
                </c:pt>
                <c:pt idx="5368">
                  <c:v>3.3660286065471494E-2</c:v>
                </c:pt>
                <c:pt idx="5369">
                  <c:v>3.2750838824594897E-2</c:v>
                </c:pt>
                <c:pt idx="5370">
                  <c:v>3.3824258258045921E-2</c:v>
                </c:pt>
                <c:pt idx="5371">
                  <c:v>3.8005740751371177E-2</c:v>
                </c:pt>
                <c:pt idx="5372">
                  <c:v>4.6390874439006788E-2</c:v>
                </c:pt>
                <c:pt idx="5373">
                  <c:v>5.4434444989965199E-2</c:v>
                </c:pt>
                <c:pt idx="5374">
                  <c:v>6.4230290038900822E-2</c:v>
                </c:pt>
                <c:pt idx="5375">
                  <c:v>7.5374857392154354E-2</c:v>
                </c:pt>
                <c:pt idx="5376">
                  <c:v>8.725090527224473E-2</c:v>
                </c:pt>
                <c:pt idx="5377">
                  <c:v>9.9395205682498516E-2</c:v>
                </c:pt>
                <c:pt idx="5378">
                  <c:v>0.11194237428124301</c:v>
                </c:pt>
                <c:pt idx="5379">
                  <c:v>0.12482480453505218</c:v>
                </c:pt>
                <c:pt idx="5380">
                  <c:v>0.13895512301238419</c:v>
                </c:pt>
                <c:pt idx="5381">
                  <c:v>0.1524419426034325</c:v>
                </c:pt>
                <c:pt idx="5382">
                  <c:v>0.16584328024254769</c:v>
                </c:pt>
                <c:pt idx="5383">
                  <c:v>0.21303518796090495</c:v>
                </c:pt>
                <c:pt idx="5384">
                  <c:v>0.2637786352960716</c:v>
                </c:pt>
                <c:pt idx="5385">
                  <c:v>0.28442420227130522</c:v>
                </c:pt>
                <c:pt idx="5386">
                  <c:v>0.33610704102404432</c:v>
                </c:pt>
                <c:pt idx="5387">
                  <c:v>0.34414258578689871</c:v>
                </c:pt>
                <c:pt idx="5388">
                  <c:v>0.35951326413871992</c:v>
                </c:pt>
                <c:pt idx="5389">
                  <c:v>0.38209104550595452</c:v>
                </c:pt>
                <c:pt idx="5390">
                  <c:v>0.38794105331228357</c:v>
                </c:pt>
                <c:pt idx="5391">
                  <c:v>0.41795819750630925</c:v>
                </c:pt>
                <c:pt idx="5392">
                  <c:v>0.4199901838680124</c:v>
                </c:pt>
                <c:pt idx="5393">
                  <c:v>0.42775065074020785</c:v>
                </c:pt>
                <c:pt idx="5394">
                  <c:v>0.43289434374239938</c:v>
                </c:pt>
                <c:pt idx="5395">
                  <c:v>0.44329400724328138</c:v>
                </c:pt>
                <c:pt idx="5396">
                  <c:v>0.44593122557456055</c:v>
                </c:pt>
                <c:pt idx="5397">
                  <c:v>0.45699605581033431</c:v>
                </c:pt>
                <c:pt idx="5398">
                  <c:v>0.45005015909082685</c:v>
                </c:pt>
                <c:pt idx="5399">
                  <c:v>0.44553142998293577</c:v>
                </c:pt>
                <c:pt idx="5400">
                  <c:v>0.44639327588336541</c:v>
                </c:pt>
                <c:pt idx="5401">
                  <c:v>0.46181141355798305</c:v>
                </c:pt>
                <c:pt idx="5402">
                  <c:v>0.46889918163717592</c:v>
                </c:pt>
                <c:pt idx="5403">
                  <c:v>0.4611983867459673</c:v>
                </c:pt>
                <c:pt idx="5404">
                  <c:v>0.45295349533955337</c:v>
                </c:pt>
                <c:pt idx="5405">
                  <c:v>0.45040429045647573</c:v>
                </c:pt>
                <c:pt idx="5406">
                  <c:v>0.45372131119986375</c:v>
                </c:pt>
                <c:pt idx="5407">
                  <c:v>0.45513614421325144</c:v>
                </c:pt>
                <c:pt idx="5408">
                  <c:v>0.47337741512487003</c:v>
                </c:pt>
                <c:pt idx="5409">
                  <c:v>0.46795760830279592</c:v>
                </c:pt>
                <c:pt idx="5410">
                  <c:v>0.46389345646323998</c:v>
                </c:pt>
                <c:pt idx="5411">
                  <c:v>0.46023318673082941</c:v>
                </c:pt>
                <c:pt idx="5412">
                  <c:v>0.46201107305695821</c:v>
                </c:pt>
                <c:pt idx="5413">
                  <c:v>0.4626284038121396</c:v>
                </c:pt>
                <c:pt idx="5414">
                  <c:v>0.46357166248841075</c:v>
                </c:pt>
                <c:pt idx="5415">
                  <c:v>0.46245914771679197</c:v>
                </c:pt>
                <c:pt idx="5416">
                  <c:v>0.45117832962012339</c:v>
                </c:pt>
                <c:pt idx="5417">
                  <c:v>0.45805895610035885</c:v>
                </c:pt>
                <c:pt idx="5418">
                  <c:v>0.46283381938713714</c:v>
                </c:pt>
                <c:pt idx="5419">
                  <c:v>0.47874472341013896</c:v>
                </c:pt>
                <c:pt idx="5420">
                  <c:v>0.48082950922885798</c:v>
                </c:pt>
                <c:pt idx="5421">
                  <c:v>0.4690163055783616</c:v>
                </c:pt>
                <c:pt idx="5422">
                  <c:v>0.47471810461676817</c:v>
                </c:pt>
                <c:pt idx="5423">
                  <c:v>0.47871214909889709</c:v>
                </c:pt>
                <c:pt idx="5424">
                  <c:v>0.48128646319172574</c:v>
                </c:pt>
                <c:pt idx="5425">
                  <c:v>0.49793950461754588</c:v>
                </c:pt>
                <c:pt idx="5426">
                  <c:v>0.49626043221762228</c:v>
                </c:pt>
                <c:pt idx="5427">
                  <c:v>0.48792399630633165</c:v>
                </c:pt>
                <c:pt idx="5428">
                  <c:v>0.49395620280727348</c:v>
                </c:pt>
                <c:pt idx="5429">
                  <c:v>0.50342990861198644</c:v>
                </c:pt>
                <c:pt idx="5430">
                  <c:v>0.50848606933927065</c:v>
                </c:pt>
                <c:pt idx="5431">
                  <c:v>0.49033488033522932</c:v>
                </c:pt>
                <c:pt idx="5432">
                  <c:v>0.50367741913533592</c:v>
                </c:pt>
                <c:pt idx="5433">
                  <c:v>0.50136271122972087</c:v>
                </c:pt>
                <c:pt idx="5434">
                  <c:v>0.50322853290199232</c:v>
                </c:pt>
                <c:pt idx="5435">
                  <c:v>0.50539665680280255</c:v>
                </c:pt>
                <c:pt idx="5436">
                  <c:v>0.50923515794581775</c:v>
                </c:pt>
                <c:pt idx="5437">
                  <c:v>0.51785007052294008</c:v>
                </c:pt>
                <c:pt idx="5438">
                  <c:v>0.50061109469486709</c:v>
                </c:pt>
                <c:pt idx="5439">
                  <c:v>0.51037204295347793</c:v>
                </c:pt>
                <c:pt idx="5440">
                  <c:v>0.51474898834927418</c:v>
                </c:pt>
                <c:pt idx="5441">
                  <c:v>0.54131791986806166</c:v>
                </c:pt>
                <c:pt idx="5442">
                  <c:v>0.56288178140321665</c:v>
                </c:pt>
                <c:pt idx="5443">
                  <c:v>0.55979523615019666</c:v>
                </c:pt>
                <c:pt idx="5444">
                  <c:v>0.55216239308964199</c:v>
                </c:pt>
                <c:pt idx="5445">
                  <c:v>0.55288331211659769</c:v>
                </c:pt>
                <c:pt idx="5446">
                  <c:v>0.55546813439764753</c:v>
                </c:pt>
                <c:pt idx="5447">
                  <c:v>0.5598463422918124</c:v>
                </c:pt>
                <c:pt idx="5448">
                  <c:v>0.56721062715225157</c:v>
                </c:pt>
                <c:pt idx="5449">
                  <c:v>0.55746887305786963</c:v>
                </c:pt>
                <c:pt idx="5450">
                  <c:v>0.56838637289784266</c:v>
                </c:pt>
                <c:pt idx="5451">
                  <c:v>0.58898751260671911</c:v>
                </c:pt>
                <c:pt idx="5452">
                  <c:v>0.64351481222210749</c:v>
                </c:pt>
                <c:pt idx="5453">
                  <c:v>0.6722193790225065</c:v>
                </c:pt>
                <c:pt idx="5454">
                  <c:v>0.69408079182794868</c:v>
                </c:pt>
                <c:pt idx="5455">
                  <c:v>0.68810673939603928</c:v>
                </c:pt>
                <c:pt idx="5456">
                  <c:v>0.70553690870184427</c:v>
                </c:pt>
                <c:pt idx="5457">
                  <c:v>0.72318275542983435</c:v>
                </c:pt>
                <c:pt idx="5458">
                  <c:v>0.73677241357990297</c:v>
                </c:pt>
                <c:pt idx="5459">
                  <c:v>0.74728795610491061</c:v>
                </c:pt>
                <c:pt idx="5460">
                  <c:v>0.75462299498144636</c:v>
                </c:pt>
                <c:pt idx="5461">
                  <c:v>0.75990386233524465</c:v>
                </c:pt>
                <c:pt idx="5462">
                  <c:v>0.71265653054405986</c:v>
                </c:pt>
                <c:pt idx="5463">
                  <c:v>0.70297658444035249</c:v>
                </c:pt>
                <c:pt idx="5464">
                  <c:v>0.69851989715211604</c:v>
                </c:pt>
                <c:pt idx="5465">
                  <c:v>0.69423622495889226</c:v>
                </c:pt>
                <c:pt idx="5466">
                  <c:v>0.68886188408586191</c:v>
                </c:pt>
                <c:pt idx="5467">
                  <c:v>0.68234447298919698</c:v>
                </c:pt>
                <c:pt idx="5468">
                  <c:v>0.6745364421046689</c:v>
                </c:pt>
                <c:pt idx="5469">
                  <c:v>0.66429517026382012</c:v>
                </c:pt>
                <c:pt idx="5470">
                  <c:v>0.64166664946270369</c:v>
                </c:pt>
                <c:pt idx="5471">
                  <c:v>0.56533449878414965</c:v>
                </c:pt>
                <c:pt idx="5472">
                  <c:v>0.44540176289748523</c:v>
                </c:pt>
                <c:pt idx="5473">
                  <c:v>0.3940042229207617</c:v>
                </c:pt>
                <c:pt idx="5474">
                  <c:v>0.32709974386101781</c:v>
                </c:pt>
                <c:pt idx="5475">
                  <c:v>0.33691983285104521</c:v>
                </c:pt>
                <c:pt idx="5476">
                  <c:v>0.34760066283570362</c:v>
                </c:pt>
                <c:pt idx="5477">
                  <c:v>0.35252764524160535</c:v>
                </c:pt>
                <c:pt idx="5478">
                  <c:v>0.34942003332137217</c:v>
                </c:pt>
                <c:pt idx="5479">
                  <c:v>0.33629108259749141</c:v>
                </c:pt>
                <c:pt idx="5480">
                  <c:v>0.30800233095082008</c:v>
                </c:pt>
                <c:pt idx="5481">
                  <c:v>0.28280775813259151</c:v>
                </c:pt>
                <c:pt idx="5482">
                  <c:v>0.28770108172412201</c:v>
                </c:pt>
                <c:pt idx="5483">
                  <c:v>0.29061007287004775</c:v>
                </c:pt>
                <c:pt idx="5484">
                  <c:v>0.28699968260835818</c:v>
                </c:pt>
                <c:pt idx="5485">
                  <c:v>0.29066864467079051</c:v>
                </c:pt>
                <c:pt idx="5486">
                  <c:v>0.32153109316054346</c:v>
                </c:pt>
                <c:pt idx="5487">
                  <c:v>0.33673003338199486</c:v>
                </c:pt>
                <c:pt idx="5488">
                  <c:v>0.34501532951864716</c:v>
                </c:pt>
                <c:pt idx="5489">
                  <c:v>0.35262793817604593</c:v>
                </c:pt>
                <c:pt idx="5490">
                  <c:v>0.35691396697856198</c:v>
                </c:pt>
                <c:pt idx="5491">
                  <c:v>0.35778695484298784</c:v>
                </c:pt>
                <c:pt idx="5492">
                  <c:v>0.3548070413704677</c:v>
                </c:pt>
                <c:pt idx="5493">
                  <c:v>0.34911098910118632</c:v>
                </c:pt>
                <c:pt idx="5494">
                  <c:v>0.3417508058686764</c:v>
                </c:pt>
                <c:pt idx="5495">
                  <c:v>0.33250896253570605</c:v>
                </c:pt>
                <c:pt idx="5496">
                  <c:v>0.32205404808045179</c:v>
                </c:pt>
                <c:pt idx="5497">
                  <c:v>0.3086169778000234</c:v>
                </c:pt>
                <c:pt idx="5498">
                  <c:v>0.29318000181990034</c:v>
                </c:pt>
                <c:pt idx="5499">
                  <c:v>0.27323909598509055</c:v>
                </c:pt>
                <c:pt idx="5500">
                  <c:v>0.24945699571202914</c:v>
                </c:pt>
                <c:pt idx="5501">
                  <c:v>0.2194502782929095</c:v>
                </c:pt>
                <c:pt idx="5502">
                  <c:v>0.17828948300024566</c:v>
                </c:pt>
                <c:pt idx="5503">
                  <c:v>0.10691963784198556</c:v>
                </c:pt>
                <c:pt idx="5504">
                  <c:v>4.5124760212323568E-2</c:v>
                </c:pt>
                <c:pt idx="5505">
                  <c:v>4.702403293296107E-2</c:v>
                </c:pt>
                <c:pt idx="5506">
                  <c:v>4.9361152241838992E-2</c:v>
                </c:pt>
                <c:pt idx="5507">
                  <c:v>5.1981719838792365E-2</c:v>
                </c:pt>
                <c:pt idx="5508">
                  <c:v>5.3059655132889717E-2</c:v>
                </c:pt>
                <c:pt idx="5509">
                  <c:v>5.3637582370612752E-2</c:v>
                </c:pt>
                <c:pt idx="5510">
                  <c:v>5.5223716800560034E-2</c:v>
                </c:pt>
                <c:pt idx="5511">
                  <c:v>5.5866483997538553E-2</c:v>
                </c:pt>
                <c:pt idx="5512">
                  <c:v>5.6083222724358721E-2</c:v>
                </c:pt>
                <c:pt idx="5513">
                  <c:v>5.6264291906495567E-2</c:v>
                </c:pt>
                <c:pt idx="5514">
                  <c:v>5.5681097665449507E-2</c:v>
                </c:pt>
                <c:pt idx="5515">
                  <c:v>5.5717245323265052E-2</c:v>
                </c:pt>
                <c:pt idx="5516">
                  <c:v>4.8848941056925346E-2</c:v>
                </c:pt>
                <c:pt idx="5517">
                  <c:v>4.1502992093301029E-2</c:v>
                </c:pt>
                <c:pt idx="5518">
                  <c:v>3.5180382808212611E-2</c:v>
                </c:pt>
                <c:pt idx="5519">
                  <c:v>2.5560160558109696E-2</c:v>
                </c:pt>
                <c:pt idx="5520">
                  <c:v>1.506958701665964E-2</c:v>
                </c:pt>
                <c:pt idx="5521">
                  <c:v>7.3345874957099436E-3</c:v>
                </c:pt>
                <c:pt idx="5522">
                  <c:v>2.8111498042875539E-3</c:v>
                </c:pt>
                <c:pt idx="5523">
                  <c:v>1.0472234197885302E-4</c:v>
                </c:pt>
                <c:pt idx="5524">
                  <c:v>-5.9639186294250281E-3</c:v>
                </c:pt>
                <c:pt idx="5525">
                  <c:v>-6.4320566212367212E-3</c:v>
                </c:pt>
                <c:pt idx="5526">
                  <c:v>-6.7666167355026948E-3</c:v>
                </c:pt>
                <c:pt idx="5527">
                  <c:v>-6.7652031665932713E-3</c:v>
                </c:pt>
                <c:pt idx="5528">
                  <c:v>-6.796253104631539E-3</c:v>
                </c:pt>
                <c:pt idx="5529">
                  <c:v>-6.5759492622950956E-3</c:v>
                </c:pt>
                <c:pt idx="5530">
                  <c:v>-6.3011845731993383E-3</c:v>
                </c:pt>
                <c:pt idx="5531">
                  <c:v>-6.0484289519387715E-3</c:v>
                </c:pt>
                <c:pt idx="5532">
                  <c:v>-6.4510039185613332E-3</c:v>
                </c:pt>
                <c:pt idx="5533">
                  <c:v>-6.6251497743214623E-3</c:v>
                </c:pt>
                <c:pt idx="5534">
                  <c:v>-6.5522648104721628E-3</c:v>
                </c:pt>
                <c:pt idx="5535">
                  <c:v>-6.3181655184209977E-3</c:v>
                </c:pt>
                <c:pt idx="5536">
                  <c:v>-6.4073555708866062E-3</c:v>
                </c:pt>
                <c:pt idx="5537">
                  <c:v>-6.6164890577858114E-3</c:v>
                </c:pt>
                <c:pt idx="5538">
                  <c:v>-6.7648692901170889E-3</c:v>
                </c:pt>
                <c:pt idx="5539">
                  <c:v>-6.9290682144643847E-3</c:v>
                </c:pt>
                <c:pt idx="5540">
                  <c:v>-6.7780726876579761E-3</c:v>
                </c:pt>
                <c:pt idx="5541">
                  <c:v>-6.2552532864385826E-3</c:v>
                </c:pt>
                <c:pt idx="5542">
                  <c:v>-5.2983619320305965E-3</c:v>
                </c:pt>
                <c:pt idx="5543">
                  <c:v>-4.8300357408335498E-3</c:v>
                </c:pt>
                <c:pt idx="5544">
                  <c:v>-4.5284961030616546E-3</c:v>
                </c:pt>
                <c:pt idx="5545">
                  <c:v>-4.8545014942205263E-3</c:v>
                </c:pt>
                <c:pt idx="5546">
                  <c:v>-5.5485484796984289E-3</c:v>
                </c:pt>
                <c:pt idx="5547">
                  <c:v>-6.121660069648714E-3</c:v>
                </c:pt>
                <c:pt idx="5548">
                  <c:v>-6.5084527340243869E-3</c:v>
                </c:pt>
                <c:pt idx="5549">
                  <c:v>-6.8033160656054258E-3</c:v>
                </c:pt>
                <c:pt idx="5550">
                  <c:v>-7.1472874813727988E-3</c:v>
                </c:pt>
                <c:pt idx="5551">
                  <c:v>-8.3167814891748106E-3</c:v>
                </c:pt>
                <c:pt idx="5552">
                  <c:v>-8.7627517081350151E-3</c:v>
                </c:pt>
                <c:pt idx="5553">
                  <c:v>-8.4848345864629426E-3</c:v>
                </c:pt>
                <c:pt idx="5554">
                  <c:v>-7.9883821676227356E-3</c:v>
                </c:pt>
                <c:pt idx="5555">
                  <c:v>-7.5474111468581285E-3</c:v>
                </c:pt>
                <c:pt idx="5556">
                  <c:v>-7.1655055369465393E-3</c:v>
                </c:pt>
                <c:pt idx="5557">
                  <c:v>-6.8823725634367906E-3</c:v>
                </c:pt>
                <c:pt idx="5558">
                  <c:v>-7.1413838873712922E-3</c:v>
                </c:pt>
                <c:pt idx="5559">
                  <c:v>-7.7058770773623664E-3</c:v>
                </c:pt>
                <c:pt idx="5560">
                  <c:v>-6.8764248514005333E-3</c:v>
                </c:pt>
                <c:pt idx="5561">
                  <c:v>-7.1730864085383208E-3</c:v>
                </c:pt>
                <c:pt idx="5562">
                  <c:v>-7.4967818072319342E-3</c:v>
                </c:pt>
                <c:pt idx="5563">
                  <c:v>-7.6342452352003362E-3</c:v>
                </c:pt>
                <c:pt idx="5564">
                  <c:v>-7.6543401726146491E-3</c:v>
                </c:pt>
                <c:pt idx="5565">
                  <c:v>-7.6360076444034943E-3</c:v>
                </c:pt>
                <c:pt idx="5566">
                  <c:v>-7.5281362681959303E-3</c:v>
                </c:pt>
                <c:pt idx="5567">
                  <c:v>-7.3499088767847295E-3</c:v>
                </c:pt>
                <c:pt idx="5568">
                  <c:v>-7.4424289218216382E-3</c:v>
                </c:pt>
                <c:pt idx="5569">
                  <c:v>-7.6205875153841796E-3</c:v>
                </c:pt>
                <c:pt idx="5570">
                  <c:v>-7.6820800287147389E-3</c:v>
                </c:pt>
                <c:pt idx="5571">
                  <c:v>-7.3414598394460299E-3</c:v>
                </c:pt>
                <c:pt idx="5572">
                  <c:v>-7.7229579201855778E-3</c:v>
                </c:pt>
                <c:pt idx="5573">
                  <c:v>-8.1692074819510151E-3</c:v>
                </c:pt>
                <c:pt idx="5574">
                  <c:v>-8.378850730838586E-3</c:v>
                </c:pt>
                <c:pt idx="5575">
                  <c:v>-8.5655180832602228E-3</c:v>
                </c:pt>
                <c:pt idx="5576">
                  <c:v>-8.6005973428470855E-3</c:v>
                </c:pt>
                <c:pt idx="5577">
                  <c:v>-8.5470952333987337E-3</c:v>
                </c:pt>
                <c:pt idx="5578">
                  <c:v>-8.5140237740753098E-3</c:v>
                </c:pt>
                <c:pt idx="5579">
                  <c:v>-8.5243168210692097E-3</c:v>
                </c:pt>
                <c:pt idx="5580">
                  <c:v>-8.5145510878332775E-3</c:v>
                </c:pt>
                <c:pt idx="5581">
                  <c:v>-8.5870580212965529E-3</c:v>
                </c:pt>
                <c:pt idx="5582">
                  <c:v>-8.6874017413642937E-3</c:v>
                </c:pt>
                <c:pt idx="5583">
                  <c:v>-8.9803664543996187E-3</c:v>
                </c:pt>
                <c:pt idx="5584">
                  <c:v>-9.3961143870242812E-3</c:v>
                </c:pt>
                <c:pt idx="5585">
                  <c:v>-9.9600491742893732E-3</c:v>
                </c:pt>
                <c:pt idx="5586">
                  <c:v>-1.0484233411831006E-2</c:v>
                </c:pt>
                <c:pt idx="5587">
                  <c:v>-1.0858665944238646E-2</c:v>
                </c:pt>
                <c:pt idx="5588">
                  <c:v>-1.0764765782166598E-2</c:v>
                </c:pt>
                <c:pt idx="5589">
                  <c:v>-1.0443010021184147E-2</c:v>
                </c:pt>
                <c:pt idx="5590">
                  <c:v>-1.174138416845248E-2</c:v>
                </c:pt>
                <c:pt idx="5591">
                  <c:v>-1.1300837056757962E-2</c:v>
                </c:pt>
                <c:pt idx="5592">
                  <c:v>-1.0767052231221094E-2</c:v>
                </c:pt>
                <c:pt idx="5593">
                  <c:v>-1.0403097863399144E-2</c:v>
                </c:pt>
                <c:pt idx="5594">
                  <c:v>-1.0206889757415913E-2</c:v>
                </c:pt>
                <c:pt idx="5595">
                  <c:v>-1.0163841582721616E-2</c:v>
                </c:pt>
                <c:pt idx="5596">
                  <c:v>-1.0121288447812234E-2</c:v>
                </c:pt>
                <c:pt idx="5597">
                  <c:v>-1.0060921105527334E-2</c:v>
                </c:pt>
                <c:pt idx="5598">
                  <c:v>-9.8112124426091539E-3</c:v>
                </c:pt>
                <c:pt idx="5599">
                  <c:v>-9.4679643300033308E-3</c:v>
                </c:pt>
                <c:pt idx="5600">
                  <c:v>-7.9009097246876703E-3</c:v>
                </c:pt>
                <c:pt idx="5601">
                  <c:v>-7.7483748038782224E-3</c:v>
                </c:pt>
                <c:pt idx="5602">
                  <c:v>-7.0850197783935195E-3</c:v>
                </c:pt>
                <c:pt idx="5603">
                  <c:v>-5.7698353829446075E-3</c:v>
                </c:pt>
                <c:pt idx="5604">
                  <c:v>-4.1671898581595763E-3</c:v>
                </c:pt>
                <c:pt idx="5605">
                  <c:v>-2.4735665700931072E-3</c:v>
                </c:pt>
                <c:pt idx="5606">
                  <c:v>-7.9026346123393324E-4</c:v>
                </c:pt>
                <c:pt idx="5607">
                  <c:v>4.9170108262940829E-4</c:v>
                </c:pt>
                <c:pt idx="5608">
                  <c:v>1.4335807164158358E-3</c:v>
                </c:pt>
                <c:pt idx="5609">
                  <c:v>7.8154925368727982E-4</c:v>
                </c:pt>
                <c:pt idx="5610">
                  <c:v>-7.4061105226650055E-4</c:v>
                </c:pt>
                <c:pt idx="5611">
                  <c:v>-2.0986849987071621E-3</c:v>
                </c:pt>
                <c:pt idx="5612">
                  <c:v>-3.1761653254225811E-3</c:v>
                </c:pt>
                <c:pt idx="5613">
                  <c:v>-3.9223692453924288E-3</c:v>
                </c:pt>
                <c:pt idx="5614">
                  <c:v>-3.7898952546516537E-3</c:v>
                </c:pt>
                <c:pt idx="5615">
                  <c:v>-4.2493533946937247E-3</c:v>
                </c:pt>
                <c:pt idx="5616">
                  <c:v>-4.688838957041707E-3</c:v>
                </c:pt>
                <c:pt idx="5617">
                  <c:v>-4.5215849303491835E-3</c:v>
                </c:pt>
                <c:pt idx="5618">
                  <c:v>-4.057408175532037E-3</c:v>
                </c:pt>
                <c:pt idx="5619">
                  <c:v>-4.3836014164347799E-3</c:v>
                </c:pt>
                <c:pt idx="5620">
                  <c:v>-4.7571006204311008E-3</c:v>
                </c:pt>
                <c:pt idx="5621">
                  <c:v>-4.3681906000018634E-3</c:v>
                </c:pt>
                <c:pt idx="5622">
                  <c:v>-4.4277470213511961E-3</c:v>
                </c:pt>
                <c:pt idx="5623">
                  <c:v>-4.8085994427916907E-3</c:v>
                </c:pt>
                <c:pt idx="5624">
                  <c:v>-5.1839235793036589E-3</c:v>
                </c:pt>
                <c:pt idx="5625">
                  <c:v>-5.3502354195647736E-3</c:v>
                </c:pt>
                <c:pt idx="5626">
                  <c:v>-5.4612831000829219E-3</c:v>
                </c:pt>
                <c:pt idx="5627">
                  <c:v>-5.338184189279763E-3</c:v>
                </c:pt>
                <c:pt idx="5628">
                  <c:v>-5.131806652430744E-3</c:v>
                </c:pt>
                <c:pt idx="5629">
                  <c:v>-4.7572804207326996E-3</c:v>
                </c:pt>
                <c:pt idx="5630">
                  <c:v>-5.1102029806916298E-3</c:v>
                </c:pt>
                <c:pt idx="5631">
                  <c:v>-4.896081265378726E-3</c:v>
                </c:pt>
                <c:pt idx="5632">
                  <c:v>-4.0381096514027909E-3</c:v>
                </c:pt>
                <c:pt idx="5633">
                  <c:v>-3.3693261173151339E-3</c:v>
                </c:pt>
                <c:pt idx="5634">
                  <c:v>-2.7472740445359488E-3</c:v>
                </c:pt>
                <c:pt idx="5635">
                  <c:v>-1.8568673420226757E-3</c:v>
                </c:pt>
                <c:pt idx="5636">
                  <c:v>-1.2036652478946055E-3</c:v>
                </c:pt>
                <c:pt idx="5637">
                  <c:v>-4.8780226367428105E-4</c:v>
                </c:pt>
                <c:pt idx="5638">
                  <c:v>-1.8429522142778682E-4</c:v>
                </c:pt>
                <c:pt idx="5639">
                  <c:v>-3.5579683675019715E-4</c:v>
                </c:pt>
                <c:pt idx="5640">
                  <c:v>-3.3695344712415809E-4</c:v>
                </c:pt>
                <c:pt idx="5641">
                  <c:v>-1.3657505615192328E-4</c:v>
                </c:pt>
                <c:pt idx="5642">
                  <c:v>-9.1668714802097331E-5</c:v>
                </c:pt>
                <c:pt idx="5643">
                  <c:v>-3.1041440129454465E-4</c:v>
                </c:pt>
                <c:pt idx="5644">
                  <c:v>-1.6931204400278416E-3</c:v>
                </c:pt>
                <c:pt idx="5645">
                  <c:v>-2.5901252420216739E-3</c:v>
                </c:pt>
                <c:pt idx="5646">
                  <c:v>-3.3317284529669929E-3</c:v>
                </c:pt>
                <c:pt idx="5647">
                  <c:v>-4.751116473751274E-3</c:v>
                </c:pt>
                <c:pt idx="5648">
                  <c:v>-6.8383519433704203E-3</c:v>
                </c:pt>
                <c:pt idx="5649">
                  <c:v>-7.3407108216181419E-3</c:v>
                </c:pt>
                <c:pt idx="5650">
                  <c:v>-7.2041966709289855E-3</c:v>
                </c:pt>
                <c:pt idx="5651">
                  <c:v>-7.6638190140997584E-3</c:v>
                </c:pt>
                <c:pt idx="5652">
                  <c:v>-8.2871347540791306E-3</c:v>
                </c:pt>
                <c:pt idx="5653">
                  <c:v>-7.5116018715048116E-3</c:v>
                </c:pt>
                <c:pt idx="5654">
                  <c:v>-6.81379437037567E-3</c:v>
                </c:pt>
                <c:pt idx="5655">
                  <c:v>-6.5702108344431118E-3</c:v>
                </c:pt>
                <c:pt idx="5656">
                  <c:v>-6.6512748729170637E-3</c:v>
                </c:pt>
                <c:pt idx="5657">
                  <c:v>-6.8081154617979931E-3</c:v>
                </c:pt>
                <c:pt idx="5658">
                  <c:v>-7.0865716141874924E-3</c:v>
                </c:pt>
                <c:pt idx="5659">
                  <c:v>-7.4872386190564348E-3</c:v>
                </c:pt>
                <c:pt idx="5660">
                  <c:v>-7.9188969776876166E-3</c:v>
                </c:pt>
                <c:pt idx="5661">
                  <c:v>-8.3471806671259058E-3</c:v>
                </c:pt>
                <c:pt idx="5662">
                  <c:v>-6.1931618860222555E-3</c:v>
                </c:pt>
                <c:pt idx="5663">
                  <c:v>-6.4016756284237973E-3</c:v>
                </c:pt>
                <c:pt idx="5664">
                  <c:v>-6.5169612536727893E-3</c:v>
                </c:pt>
                <c:pt idx="5665">
                  <c:v>-5.8077837380954723E-3</c:v>
                </c:pt>
                <c:pt idx="5666">
                  <c:v>-6.1002113247075138E-3</c:v>
                </c:pt>
                <c:pt idx="5667">
                  <c:v>-6.3699610131843238E-3</c:v>
                </c:pt>
                <c:pt idx="5668">
                  <c:v>-6.5322078417201154E-3</c:v>
                </c:pt>
                <c:pt idx="5669">
                  <c:v>-6.4616808620358637E-3</c:v>
                </c:pt>
                <c:pt idx="5670">
                  <c:v>-6.2611120620961868E-3</c:v>
                </c:pt>
                <c:pt idx="5671">
                  <c:v>-5.8280303637101745E-3</c:v>
                </c:pt>
                <c:pt idx="5672">
                  <c:v>-5.7365101671168345E-3</c:v>
                </c:pt>
                <c:pt idx="5673">
                  <c:v>-5.8069828210432044E-3</c:v>
                </c:pt>
                <c:pt idx="5674">
                  <c:v>-5.6836056482240192E-3</c:v>
                </c:pt>
                <c:pt idx="5675">
                  <c:v>-5.1363932912410377E-3</c:v>
                </c:pt>
                <c:pt idx="5676">
                  <c:v>-4.4169715091808611E-3</c:v>
                </c:pt>
                <c:pt idx="5677">
                  <c:v>-3.5063431003261643E-3</c:v>
                </c:pt>
                <c:pt idx="5678">
                  <c:v>-2.5496223488502071E-3</c:v>
                </c:pt>
                <c:pt idx="5679">
                  <c:v>-1.6753924449878291E-3</c:v>
                </c:pt>
                <c:pt idx="5680">
                  <c:v>-9.3723903102802507E-4</c:v>
                </c:pt>
                <c:pt idx="5681">
                  <c:v>-1.0733916029373129E-3</c:v>
                </c:pt>
                <c:pt idx="5682">
                  <c:v>-2.0785148789786694E-3</c:v>
                </c:pt>
                <c:pt idx="5683">
                  <c:v>-2.8978945936213602E-3</c:v>
                </c:pt>
                <c:pt idx="5684">
                  <c:v>-2.9469879254838561E-3</c:v>
                </c:pt>
                <c:pt idx="5685">
                  <c:v>-2.9850019229687927E-3</c:v>
                </c:pt>
                <c:pt idx="5686">
                  <c:v>-2.9685361232119917E-3</c:v>
                </c:pt>
                <c:pt idx="5687">
                  <c:v>-2.9167817025007124E-3</c:v>
                </c:pt>
                <c:pt idx="5688">
                  <c:v>-2.8984445921679779E-3</c:v>
                </c:pt>
                <c:pt idx="5689">
                  <c:v>-2.8009606826910026E-3</c:v>
                </c:pt>
                <c:pt idx="5690">
                  <c:v>-2.6108284577598517E-3</c:v>
                </c:pt>
                <c:pt idx="5691">
                  <c:v>-2.3802107077637077E-3</c:v>
                </c:pt>
                <c:pt idx="5692">
                  <c:v>-4.0376344146107589E-3</c:v>
                </c:pt>
                <c:pt idx="5693">
                  <c:v>-3.7877867839291668E-3</c:v>
                </c:pt>
                <c:pt idx="5694">
                  <c:v>-3.5719875905981784E-3</c:v>
                </c:pt>
                <c:pt idx="5695">
                  <c:v>-4.7376283520460189E-3</c:v>
                </c:pt>
                <c:pt idx="5696">
                  <c:v>-4.4525329645727692E-3</c:v>
                </c:pt>
                <c:pt idx="5697">
                  <c:v>-4.0711957658113949E-3</c:v>
                </c:pt>
                <c:pt idx="5698">
                  <c:v>-3.6367804898479305E-3</c:v>
                </c:pt>
                <c:pt idx="5699">
                  <c:v>-3.4347147006920627E-3</c:v>
                </c:pt>
                <c:pt idx="5700">
                  <c:v>-3.996937445568477E-3</c:v>
                </c:pt>
                <c:pt idx="5701">
                  <c:v>-4.789939267986331E-3</c:v>
                </c:pt>
                <c:pt idx="5702">
                  <c:v>-5.4847677316214776E-3</c:v>
                </c:pt>
                <c:pt idx="5703">
                  <c:v>-6.2599691921978069E-3</c:v>
                </c:pt>
                <c:pt idx="5704">
                  <c:v>-6.9441475639385004E-3</c:v>
                </c:pt>
                <c:pt idx="5705">
                  <c:v>-7.7733100532138884E-3</c:v>
                </c:pt>
                <c:pt idx="5706">
                  <c:v>-9.4246930559799616E-4</c:v>
                </c:pt>
                <c:pt idx="5707">
                  <c:v>1.9763920672745908E-3</c:v>
                </c:pt>
                <c:pt idx="5708">
                  <c:v>2.9549865267303153E-3</c:v>
                </c:pt>
                <c:pt idx="5709">
                  <c:v>2.433927637503594E-3</c:v>
                </c:pt>
                <c:pt idx="5710">
                  <c:v>1.8950524264193525E-3</c:v>
                </c:pt>
                <c:pt idx="5711">
                  <c:v>1.7860857029532214E-3</c:v>
                </c:pt>
                <c:pt idx="5712">
                  <c:v>1.947056537028112E-3</c:v>
                </c:pt>
                <c:pt idx="5713">
                  <c:v>2.2045942226995817E-3</c:v>
                </c:pt>
                <c:pt idx="5714">
                  <c:v>1.9927832437679257E-3</c:v>
                </c:pt>
                <c:pt idx="5715">
                  <c:v>1.8761843879443151E-3</c:v>
                </c:pt>
                <c:pt idx="5716">
                  <c:v>1.9756485434042955E-3</c:v>
                </c:pt>
                <c:pt idx="5717">
                  <c:v>2.1511058651519557E-3</c:v>
                </c:pt>
                <c:pt idx="5718">
                  <c:v>2.3640680252696774E-3</c:v>
                </c:pt>
                <c:pt idx="5719">
                  <c:v>2.4341009270221689E-3</c:v>
                </c:pt>
                <c:pt idx="5720">
                  <c:v>2.3203240694501196E-3</c:v>
                </c:pt>
                <c:pt idx="5721">
                  <c:v>2.3065719290684336E-3</c:v>
                </c:pt>
                <c:pt idx="5722">
                  <c:v>2.1831225176200814E-3</c:v>
                </c:pt>
                <c:pt idx="5723">
                  <c:v>2.1640652453235529E-3</c:v>
                </c:pt>
                <c:pt idx="5724">
                  <c:v>2.1415448785675091E-3</c:v>
                </c:pt>
                <c:pt idx="5725">
                  <c:v>2.1212176034816569E-3</c:v>
                </c:pt>
                <c:pt idx="5726">
                  <c:v>2.1626829469050847E-3</c:v>
                </c:pt>
                <c:pt idx="5727">
                  <c:v>2.1457419895287103E-3</c:v>
                </c:pt>
                <c:pt idx="5728">
                  <c:v>2.1137272023313697E-3</c:v>
                </c:pt>
                <c:pt idx="5729">
                  <c:v>2.2528376944644882E-3</c:v>
                </c:pt>
                <c:pt idx="5730">
                  <c:v>2.6851231201138956E-3</c:v>
                </c:pt>
                <c:pt idx="5731">
                  <c:v>2.8345654845907241E-3</c:v>
                </c:pt>
                <c:pt idx="5732">
                  <c:v>2.8260285021318964E-3</c:v>
                </c:pt>
                <c:pt idx="5733">
                  <c:v>3.0329481291968986E-3</c:v>
                </c:pt>
                <c:pt idx="5734">
                  <c:v>3.394365594048359E-3</c:v>
                </c:pt>
                <c:pt idx="5735">
                  <c:v>3.8144937973320393E-3</c:v>
                </c:pt>
                <c:pt idx="5736">
                  <c:v>1.0108438590500455E-3</c:v>
                </c:pt>
                <c:pt idx="5737">
                  <c:v>-1.8896096913313502E-3</c:v>
                </c:pt>
                <c:pt idx="5738">
                  <c:v>-4.4634182621384648E-3</c:v>
                </c:pt>
                <c:pt idx="5739">
                  <c:v>-4.4329893612769043E-3</c:v>
                </c:pt>
                <c:pt idx="5740">
                  <c:v>-3.883636752457266E-3</c:v>
                </c:pt>
                <c:pt idx="5741">
                  <c:v>-4.4234761814680341E-3</c:v>
                </c:pt>
                <c:pt idx="5742">
                  <c:v>-3.9215934635254959E-3</c:v>
                </c:pt>
                <c:pt idx="5743">
                  <c:v>-3.3317058758197023E-3</c:v>
                </c:pt>
                <c:pt idx="5744">
                  <c:v>-2.4410209027019942E-3</c:v>
                </c:pt>
                <c:pt idx="5745">
                  <c:v>-1.3561239516451896E-3</c:v>
                </c:pt>
                <c:pt idx="5746">
                  <c:v>-7.2003802598776239E-4</c:v>
                </c:pt>
                <c:pt idx="5747">
                  <c:v>-5.1419072505903742E-4</c:v>
                </c:pt>
                <c:pt idx="5748">
                  <c:v>-4.1543523559968605E-4</c:v>
                </c:pt>
                <c:pt idx="5749">
                  <c:v>-6.9657420287499387E-4</c:v>
                </c:pt>
                <c:pt idx="5750">
                  <c:v>-1.0469786380856785E-3</c:v>
                </c:pt>
                <c:pt idx="5751">
                  <c:v>-1.7934399228101789E-3</c:v>
                </c:pt>
                <c:pt idx="5752">
                  <c:v>-2.6865490888352229E-3</c:v>
                </c:pt>
                <c:pt idx="5753">
                  <c:v>-3.2038324570900509E-3</c:v>
                </c:pt>
                <c:pt idx="5754">
                  <c:v>-3.5927758662848549E-3</c:v>
                </c:pt>
                <c:pt idx="5755">
                  <c:v>-3.7227585095636773E-3</c:v>
                </c:pt>
                <c:pt idx="5756">
                  <c:v>-3.8704823253762682E-3</c:v>
                </c:pt>
                <c:pt idx="5757">
                  <c:v>-4.0447085665736232E-3</c:v>
                </c:pt>
                <c:pt idx="5758">
                  <c:v>-4.364206825205403E-3</c:v>
                </c:pt>
                <c:pt idx="5759">
                  <c:v>-4.9937093439320901E-3</c:v>
                </c:pt>
                <c:pt idx="5760">
                  <c:v>-6.3022241878633277E-3</c:v>
                </c:pt>
                <c:pt idx="5761">
                  <c:v>-5.3698892765455643E-3</c:v>
                </c:pt>
                <c:pt idx="5762">
                  <c:v>-5.1357361464704635E-3</c:v>
                </c:pt>
                <c:pt idx="5763">
                  <c:v>-4.5076271577529454E-3</c:v>
                </c:pt>
                <c:pt idx="5764">
                  <c:v>-3.9894518407546688E-3</c:v>
                </c:pt>
                <c:pt idx="5765">
                  <c:v>-3.52742592460451E-3</c:v>
                </c:pt>
                <c:pt idx="5766">
                  <c:v>-3.0077645793466553E-3</c:v>
                </c:pt>
                <c:pt idx="5767">
                  <c:v>-2.8849779902072603E-3</c:v>
                </c:pt>
                <c:pt idx="5768">
                  <c:v>-1.9124314188981974E-3</c:v>
                </c:pt>
                <c:pt idx="5769">
                  <c:v>-1.1769203250356821E-3</c:v>
                </c:pt>
                <c:pt idx="5770">
                  <c:v>-6.6707999747335576E-4</c:v>
                </c:pt>
                <c:pt idx="5771">
                  <c:v>-3.8739396689841613E-4</c:v>
                </c:pt>
                <c:pt idx="5772">
                  <c:v>-6.5011491974087485E-4</c:v>
                </c:pt>
                <c:pt idx="5773">
                  <c:v>-1.3817490755338516E-3</c:v>
                </c:pt>
                <c:pt idx="5774">
                  <c:v>-2.3074792868814104E-3</c:v>
                </c:pt>
                <c:pt idx="5775">
                  <c:v>-3.6410978510092052E-3</c:v>
                </c:pt>
                <c:pt idx="5776">
                  <c:v>-4.6786760956899764E-3</c:v>
                </c:pt>
                <c:pt idx="5777">
                  <c:v>-5.5384152124013739E-3</c:v>
                </c:pt>
                <c:pt idx="5778">
                  <c:v>-6.3431681074044947E-3</c:v>
                </c:pt>
                <c:pt idx="5779">
                  <c:v>-7.0318635543423075E-3</c:v>
                </c:pt>
                <c:pt idx="5780">
                  <c:v>-7.5583645070678024E-3</c:v>
                </c:pt>
                <c:pt idx="5781">
                  <c:v>-7.966188176923017E-3</c:v>
                </c:pt>
                <c:pt idx="5782">
                  <c:v>-8.4241945707754125E-3</c:v>
                </c:pt>
                <c:pt idx="5783">
                  <c:v>-8.7852276887329071E-3</c:v>
                </c:pt>
                <c:pt idx="5784">
                  <c:v>-9.0894471701913893E-3</c:v>
                </c:pt>
                <c:pt idx="5785">
                  <c:v>-9.5119059522009233E-3</c:v>
                </c:pt>
                <c:pt idx="5786">
                  <c:v>-9.9371719831374827E-3</c:v>
                </c:pt>
                <c:pt idx="5787">
                  <c:v>-1.0257420934201804E-2</c:v>
                </c:pt>
                <c:pt idx="5788">
                  <c:v>-1.0254888358800349E-2</c:v>
                </c:pt>
                <c:pt idx="5789">
                  <c:v>-1.0025404227452774E-2</c:v>
                </c:pt>
                <c:pt idx="5790">
                  <c:v>-9.4637206553283733E-3</c:v>
                </c:pt>
                <c:pt idx="5791">
                  <c:v>-1.0635175172245631E-2</c:v>
                </c:pt>
                <c:pt idx="5792">
                  <c:v>-9.9923696348854108E-3</c:v>
                </c:pt>
                <c:pt idx="5793">
                  <c:v>-9.5004332015027927E-3</c:v>
                </c:pt>
                <c:pt idx="5794">
                  <c:v>-9.2428936767791105E-3</c:v>
                </c:pt>
                <c:pt idx="5795">
                  <c:v>-9.2559740048987829E-3</c:v>
                </c:pt>
                <c:pt idx="5796">
                  <c:v>-9.3107175362549689E-3</c:v>
                </c:pt>
                <c:pt idx="5797">
                  <c:v>-9.3099640364211738E-3</c:v>
                </c:pt>
                <c:pt idx="5798">
                  <c:v>-9.8535635467604209E-3</c:v>
                </c:pt>
                <c:pt idx="5799">
                  <c:v>-9.726074515587102E-3</c:v>
                </c:pt>
                <c:pt idx="5800">
                  <c:v>-1.0294618706659393E-2</c:v>
                </c:pt>
                <c:pt idx="5801">
                  <c:v>-1.1078287491808975E-2</c:v>
                </c:pt>
                <c:pt idx="5802">
                  <c:v>-1.1728495772359029E-2</c:v>
                </c:pt>
                <c:pt idx="5803">
                  <c:v>-1.2091735740038136E-2</c:v>
                </c:pt>
                <c:pt idx="5804">
                  <c:v>-1.2226993952654943E-2</c:v>
                </c:pt>
                <c:pt idx="5805">
                  <c:v>-1.2105340960851519E-2</c:v>
                </c:pt>
                <c:pt idx="5806">
                  <c:v>-1.189788718325595E-2</c:v>
                </c:pt>
                <c:pt idx="5807">
                  <c:v>-1.1490832361590313E-2</c:v>
                </c:pt>
                <c:pt idx="5808">
                  <c:v>-1.093885092528411E-2</c:v>
                </c:pt>
                <c:pt idx="5809">
                  <c:v>-1.0486597972481707E-2</c:v>
                </c:pt>
                <c:pt idx="5810">
                  <c:v>-1.0077583587598313E-2</c:v>
                </c:pt>
                <c:pt idx="5811">
                  <c:v>-9.6664954567378981E-3</c:v>
                </c:pt>
                <c:pt idx="5812">
                  <c:v>-9.000698358820506E-3</c:v>
                </c:pt>
                <c:pt idx="5813">
                  <c:v>-8.4446415473316081E-3</c:v>
                </c:pt>
                <c:pt idx="5814">
                  <c:v>-7.9620842160055532E-3</c:v>
                </c:pt>
                <c:pt idx="5815">
                  <c:v>-7.3532819473406284E-3</c:v>
                </c:pt>
                <c:pt idx="5816">
                  <c:v>-7.2685255166536726E-3</c:v>
                </c:pt>
                <c:pt idx="5817">
                  <c:v>-7.211582667519624E-3</c:v>
                </c:pt>
                <c:pt idx="5818">
                  <c:v>-6.5804339663507339E-3</c:v>
                </c:pt>
                <c:pt idx="5819">
                  <c:v>-6.2074966328013077E-3</c:v>
                </c:pt>
                <c:pt idx="5820">
                  <c:v>-6.2373418795712808E-3</c:v>
                </c:pt>
                <c:pt idx="5821">
                  <c:v>-5.9979752142321936E-3</c:v>
                </c:pt>
                <c:pt idx="5822">
                  <c:v>-5.8036884034836887E-3</c:v>
                </c:pt>
                <c:pt idx="5823">
                  <c:v>-5.8340139362675174E-3</c:v>
                </c:pt>
                <c:pt idx="5824">
                  <c:v>-6.0200586423319854E-3</c:v>
                </c:pt>
                <c:pt idx="5825">
                  <c:v>-5.996526928879249E-3</c:v>
                </c:pt>
                <c:pt idx="5826">
                  <c:v>-5.8924400675825755E-3</c:v>
                </c:pt>
                <c:pt idx="5827">
                  <c:v>-5.6520288788904855E-3</c:v>
                </c:pt>
                <c:pt idx="5828">
                  <c:v>-5.5020030643099863E-3</c:v>
                </c:pt>
                <c:pt idx="5829">
                  <c:v>-5.5386157219832035E-3</c:v>
                </c:pt>
                <c:pt idx="5830">
                  <c:v>-5.4079025110076537E-3</c:v>
                </c:pt>
                <c:pt idx="5831">
                  <c:v>-5.2936463388608065E-3</c:v>
                </c:pt>
                <c:pt idx="5832">
                  <c:v>-5.465973336810686E-3</c:v>
                </c:pt>
                <c:pt idx="5833">
                  <c:v>-5.6857151025783269E-3</c:v>
                </c:pt>
                <c:pt idx="5834">
                  <c:v>-5.740832932885769E-3</c:v>
                </c:pt>
                <c:pt idx="5835">
                  <c:v>-5.3219765462132794E-3</c:v>
                </c:pt>
                <c:pt idx="5836">
                  <c:v>-4.8418714052530839E-3</c:v>
                </c:pt>
                <c:pt idx="5837">
                  <c:v>-4.4137427206193108E-3</c:v>
                </c:pt>
                <c:pt idx="5838">
                  <c:v>-4.1829200094517308E-3</c:v>
                </c:pt>
                <c:pt idx="5839">
                  <c:v>-4.0415975340227315E-3</c:v>
                </c:pt>
                <c:pt idx="5840">
                  <c:v>-3.9980031728685667E-3</c:v>
                </c:pt>
                <c:pt idx="5841">
                  <c:v>-4.1848805596118813E-3</c:v>
                </c:pt>
                <c:pt idx="5842">
                  <c:v>-4.731886094903894E-3</c:v>
                </c:pt>
                <c:pt idx="5843">
                  <c:v>-5.4977355064989835E-3</c:v>
                </c:pt>
                <c:pt idx="5844">
                  <c:v>-6.3036508943690199E-3</c:v>
                </c:pt>
                <c:pt idx="5845">
                  <c:v>-6.9160517588994653E-3</c:v>
                </c:pt>
                <c:pt idx="5846">
                  <c:v>-7.1288823159724492E-3</c:v>
                </c:pt>
                <c:pt idx="5847">
                  <c:v>-7.2215688654933344E-3</c:v>
                </c:pt>
                <c:pt idx="5848">
                  <c:v>-7.1305661433770035E-3</c:v>
                </c:pt>
                <c:pt idx="5849">
                  <c:v>-6.8571938149033056E-3</c:v>
                </c:pt>
                <c:pt idx="5850">
                  <c:v>-6.6610764640719789E-3</c:v>
                </c:pt>
                <c:pt idx="5851">
                  <c:v>-6.7900199159496378E-3</c:v>
                </c:pt>
                <c:pt idx="5852">
                  <c:v>-6.9500808185214919E-3</c:v>
                </c:pt>
                <c:pt idx="5853">
                  <c:v>-6.9273792270892415E-3</c:v>
                </c:pt>
                <c:pt idx="5854">
                  <c:v>-6.8456382724298654E-3</c:v>
                </c:pt>
                <c:pt idx="5855">
                  <c:v>-6.94692281793193E-3</c:v>
                </c:pt>
                <c:pt idx="5856">
                  <c:v>-7.196703940560812E-3</c:v>
                </c:pt>
                <c:pt idx="5857">
                  <c:v>-7.4475859183727794E-3</c:v>
                </c:pt>
                <c:pt idx="5858">
                  <c:v>-7.6855238764286914E-3</c:v>
                </c:pt>
                <c:pt idx="5859">
                  <c:v>-7.9216396810030537E-3</c:v>
                </c:pt>
                <c:pt idx="5860">
                  <c:v>-7.8753123242646245E-3</c:v>
                </c:pt>
                <c:pt idx="5861">
                  <c:v>-7.5277696853532378E-3</c:v>
                </c:pt>
                <c:pt idx="5862">
                  <c:v>-6.7374277103299093E-3</c:v>
                </c:pt>
                <c:pt idx="5863">
                  <c:v>-5.7560556446760655E-3</c:v>
                </c:pt>
                <c:pt idx="5864">
                  <c:v>-4.8270330792317372E-3</c:v>
                </c:pt>
                <c:pt idx="5865">
                  <c:v>-4.4337713249759077E-3</c:v>
                </c:pt>
                <c:pt idx="5866">
                  <c:v>-3.9051649701904662E-3</c:v>
                </c:pt>
                <c:pt idx="5867">
                  <c:v>-3.2821035099493603E-3</c:v>
                </c:pt>
                <c:pt idx="5868">
                  <c:v>-2.2858758571656715E-3</c:v>
                </c:pt>
                <c:pt idx="5869">
                  <c:v>-1.0046788363164381E-3</c:v>
                </c:pt>
                <c:pt idx="5870">
                  <c:v>1.5607397253998134E-4</c:v>
                </c:pt>
                <c:pt idx="5871">
                  <c:v>6.8080286887782244E-4</c:v>
                </c:pt>
                <c:pt idx="5872">
                  <c:v>2.4674063633238442E-4</c:v>
                </c:pt>
                <c:pt idx="5873">
                  <c:v>-1.2725253666135842E-3</c:v>
                </c:pt>
                <c:pt idx="5874">
                  <c:v>-2.2716743917787219E-3</c:v>
                </c:pt>
                <c:pt idx="5875">
                  <c:v>-3.6094650754632668E-3</c:v>
                </c:pt>
                <c:pt idx="5876">
                  <c:v>-5.1620669832257446E-3</c:v>
                </c:pt>
                <c:pt idx="5877">
                  <c:v>-6.6492697308298465E-3</c:v>
                </c:pt>
                <c:pt idx="5878">
                  <c:v>-7.8153422468324255E-3</c:v>
                </c:pt>
                <c:pt idx="5879">
                  <c:v>-8.8018929904993826E-3</c:v>
                </c:pt>
                <c:pt idx="5880">
                  <c:v>-9.6248591770394971E-3</c:v>
                </c:pt>
                <c:pt idx="5881">
                  <c:v>-1.0330905989477231E-2</c:v>
                </c:pt>
                <c:pt idx="5882">
                  <c:v>-1.0959972277181745E-2</c:v>
                </c:pt>
                <c:pt idx="5883">
                  <c:v>-1.1491202308707909E-2</c:v>
                </c:pt>
                <c:pt idx="5884">
                  <c:v>-1.1679815958248962E-2</c:v>
                </c:pt>
                <c:pt idx="5885">
                  <c:v>-1.1592208013115021E-2</c:v>
                </c:pt>
                <c:pt idx="5886">
                  <c:v>-1.1248363762090447E-2</c:v>
                </c:pt>
                <c:pt idx="5887">
                  <c:v>-1.0996466176747335E-2</c:v>
                </c:pt>
                <c:pt idx="5888">
                  <c:v>-1.0651595178180588E-2</c:v>
                </c:pt>
                <c:pt idx="5889">
                  <c:v>-1.0309939393169973E-2</c:v>
                </c:pt>
                <c:pt idx="5890">
                  <c:v>-9.9416100118913959E-3</c:v>
                </c:pt>
                <c:pt idx="5891">
                  <c:v>-9.6102500748382787E-3</c:v>
                </c:pt>
                <c:pt idx="5892">
                  <c:v>-9.4370811442342235E-3</c:v>
                </c:pt>
                <c:pt idx="5893">
                  <c:v>-9.0654854665020816E-3</c:v>
                </c:pt>
                <c:pt idx="5894">
                  <c:v>-8.1091132478247879E-3</c:v>
                </c:pt>
                <c:pt idx="5895">
                  <c:v>-7.2319163835848112E-3</c:v>
                </c:pt>
                <c:pt idx="5896">
                  <c:v>-6.3187672578715456E-3</c:v>
                </c:pt>
                <c:pt idx="5897">
                  <c:v>-5.487527614948251E-3</c:v>
                </c:pt>
                <c:pt idx="5898">
                  <c:v>-4.8720104708068297E-3</c:v>
                </c:pt>
                <c:pt idx="5899">
                  <c:v>-4.0807268483325412E-3</c:v>
                </c:pt>
                <c:pt idx="5900">
                  <c:v>-3.2381116731602473E-3</c:v>
                </c:pt>
                <c:pt idx="5901">
                  <c:v>-2.8358910907361453E-3</c:v>
                </c:pt>
                <c:pt idx="5902">
                  <c:v>-2.6817223167030146E-3</c:v>
                </c:pt>
                <c:pt idx="5903">
                  <c:v>-2.7803171741289682E-3</c:v>
                </c:pt>
                <c:pt idx="5904">
                  <c:v>-2.9301060829399301E-3</c:v>
                </c:pt>
                <c:pt idx="5905">
                  <c:v>-3.1458992022923684E-3</c:v>
                </c:pt>
                <c:pt idx="5906">
                  <c:v>-3.2018074831069833E-3</c:v>
                </c:pt>
                <c:pt idx="5907">
                  <c:v>-3.1043022669811592E-3</c:v>
                </c:pt>
                <c:pt idx="5908">
                  <c:v>-3.1267934609073523E-3</c:v>
                </c:pt>
                <c:pt idx="5909">
                  <c:v>-3.1385741669199066E-3</c:v>
                </c:pt>
                <c:pt idx="5910">
                  <c:v>-3.1756621064961471E-3</c:v>
                </c:pt>
                <c:pt idx="5911">
                  <c:v>-3.2218339930665633E-3</c:v>
                </c:pt>
                <c:pt idx="5912">
                  <c:v>-3.1081502913138841E-3</c:v>
                </c:pt>
                <c:pt idx="5913">
                  <c:v>-3.1158494135435548E-3</c:v>
                </c:pt>
                <c:pt idx="5914">
                  <c:v>-3.2629978090436022E-3</c:v>
                </c:pt>
                <c:pt idx="5915">
                  <c:v>-3.4908794801536336E-3</c:v>
                </c:pt>
                <c:pt idx="5916">
                  <c:v>-3.5753294662057532E-3</c:v>
                </c:pt>
                <c:pt idx="5917">
                  <c:v>-3.9090962069041084E-3</c:v>
                </c:pt>
                <c:pt idx="5918">
                  <c:v>-4.1715581579719867E-3</c:v>
                </c:pt>
                <c:pt idx="5919">
                  <c:v>-4.2927865021979306E-3</c:v>
                </c:pt>
                <c:pt idx="5920">
                  <c:v>-4.0017247064255421E-3</c:v>
                </c:pt>
                <c:pt idx="5921">
                  <c:v>-3.5850636991462811E-3</c:v>
                </c:pt>
                <c:pt idx="5922">
                  <c:v>-2.5316230549671118E-3</c:v>
                </c:pt>
                <c:pt idx="5923">
                  <c:v>-1.3178435662432137E-3</c:v>
                </c:pt>
                <c:pt idx="5924">
                  <c:v>-4.9413313710627935E-4</c:v>
                </c:pt>
                <c:pt idx="5925">
                  <c:v>-1.212259412430557E-4</c:v>
                </c:pt>
                <c:pt idx="5926">
                  <c:v>-5.4370141969168392E-4</c:v>
                </c:pt>
                <c:pt idx="5927">
                  <c:v>-1.7378126697130359E-3</c:v>
                </c:pt>
                <c:pt idx="5928">
                  <c:v>-3.5438740671834192E-3</c:v>
                </c:pt>
                <c:pt idx="5929">
                  <c:v>-5.5229864117451932E-3</c:v>
                </c:pt>
                <c:pt idx="5930">
                  <c:v>-7.3273517879942213E-3</c:v>
                </c:pt>
                <c:pt idx="5931">
                  <c:v>-8.6087327941806631E-3</c:v>
                </c:pt>
                <c:pt idx="5932">
                  <c:v>-9.6301502397890711E-3</c:v>
                </c:pt>
                <c:pt idx="5933">
                  <c:v>-1.0534026496623314E-2</c:v>
                </c:pt>
                <c:pt idx="5934">
                  <c:v>-1.116498487269061E-2</c:v>
                </c:pt>
                <c:pt idx="5935">
                  <c:v>-1.1687899427153869E-2</c:v>
                </c:pt>
                <c:pt idx="5936">
                  <c:v>-1.2255842219558652E-2</c:v>
                </c:pt>
                <c:pt idx="5937">
                  <c:v>-9.2637571355039042E-3</c:v>
                </c:pt>
                <c:pt idx="5938">
                  <c:v>-9.2746625042244551E-3</c:v>
                </c:pt>
                <c:pt idx="5939">
                  <c:v>-9.3992440367079502E-3</c:v>
                </c:pt>
                <c:pt idx="5940">
                  <c:v>-9.4050885656549559E-3</c:v>
                </c:pt>
                <c:pt idx="5941">
                  <c:v>-8.2587167118613018E-3</c:v>
                </c:pt>
                <c:pt idx="5942">
                  <c:v>-8.2589190868858631E-3</c:v>
                </c:pt>
                <c:pt idx="5943">
                  <c:v>-7.9069854323662106E-3</c:v>
                </c:pt>
                <c:pt idx="5944">
                  <c:v>-7.342316918639567E-3</c:v>
                </c:pt>
                <c:pt idx="5945">
                  <c:v>-6.8050890705896958E-3</c:v>
                </c:pt>
                <c:pt idx="5946">
                  <c:v>-6.360232127557432E-3</c:v>
                </c:pt>
                <c:pt idx="5947">
                  <c:v>-6.352756541473251E-3</c:v>
                </c:pt>
                <c:pt idx="5948">
                  <c:v>-6.6631581489090003E-3</c:v>
                </c:pt>
                <c:pt idx="5949">
                  <c:v>-6.4592805897852167E-3</c:v>
                </c:pt>
                <c:pt idx="5950">
                  <c:v>-6.3485954178460341E-3</c:v>
                </c:pt>
                <c:pt idx="5951">
                  <c:v>-6.4761488633121866E-3</c:v>
                </c:pt>
                <c:pt idx="5952">
                  <c:v>-6.5749369755540923E-3</c:v>
                </c:pt>
                <c:pt idx="5953">
                  <c:v>-6.7226746239031788E-3</c:v>
                </c:pt>
                <c:pt idx="5954">
                  <c:v>-6.6981460846316666E-3</c:v>
                </c:pt>
                <c:pt idx="5955">
                  <c:v>-6.6720837813506427E-3</c:v>
                </c:pt>
                <c:pt idx="5956">
                  <c:v>-6.6377808271473916E-3</c:v>
                </c:pt>
                <c:pt idx="5957">
                  <c:v>-6.6181470324224549E-3</c:v>
                </c:pt>
                <c:pt idx="5958">
                  <c:v>-6.535580519397996E-3</c:v>
                </c:pt>
                <c:pt idx="5959">
                  <c:v>-6.3765162411405559E-3</c:v>
                </c:pt>
                <c:pt idx="5960">
                  <c:v>-6.1389305848260894E-3</c:v>
                </c:pt>
                <c:pt idx="5961">
                  <c:v>-5.9712790924695228E-3</c:v>
                </c:pt>
                <c:pt idx="5962">
                  <c:v>-5.7661293841789855E-3</c:v>
                </c:pt>
                <c:pt idx="5963">
                  <c:v>-5.5302323637957274E-3</c:v>
                </c:pt>
                <c:pt idx="5964">
                  <c:v>-5.3311017908301787E-3</c:v>
                </c:pt>
                <c:pt idx="5965">
                  <c:v>-5.0059318392587423E-3</c:v>
                </c:pt>
                <c:pt idx="5966">
                  <c:v>-4.6612195520561676E-3</c:v>
                </c:pt>
                <c:pt idx="5967">
                  <c:v>-7.725911650654691E-3</c:v>
                </c:pt>
                <c:pt idx="5968">
                  <c:v>-7.9494935551009047E-3</c:v>
                </c:pt>
                <c:pt idx="5969">
                  <c:v>-7.5576653169834975E-3</c:v>
                </c:pt>
                <c:pt idx="5970">
                  <c:v>-7.2465028575256834E-3</c:v>
                </c:pt>
                <c:pt idx="5971">
                  <c:v>-8.2273198226442083E-3</c:v>
                </c:pt>
                <c:pt idx="5972">
                  <c:v>-7.448105265511846E-3</c:v>
                </c:pt>
                <c:pt idx="5973">
                  <c:v>-7.3908544072577142E-3</c:v>
                </c:pt>
                <c:pt idx="5974">
                  <c:v>-7.0571489621066835E-3</c:v>
                </c:pt>
                <c:pt idx="5975">
                  <c:v>-7.2958736269586096E-3</c:v>
                </c:pt>
                <c:pt idx="5976">
                  <c:v>-7.508947967083097E-3</c:v>
                </c:pt>
                <c:pt idx="5977">
                  <c:v>-6.5237065482083969E-3</c:v>
                </c:pt>
                <c:pt idx="5978">
                  <c:v>-6.5556070023464951E-3</c:v>
                </c:pt>
                <c:pt idx="5979">
                  <c:v>-7.1740272031768455E-3</c:v>
                </c:pt>
                <c:pt idx="5980">
                  <c:v>-7.1518936608032302E-3</c:v>
                </c:pt>
                <c:pt idx="5981">
                  <c:v>-7.0360210219946985E-3</c:v>
                </c:pt>
                <c:pt idx="5982">
                  <c:v>-6.8224886267759435E-3</c:v>
                </c:pt>
                <c:pt idx="5983">
                  <c:v>-6.6214599101157212E-3</c:v>
                </c:pt>
                <c:pt idx="5984">
                  <c:v>-6.5612645036108056E-3</c:v>
                </c:pt>
                <c:pt idx="5985">
                  <c:v>-6.4889843587010139E-3</c:v>
                </c:pt>
                <c:pt idx="5986">
                  <c:v>-6.368431775837389E-3</c:v>
                </c:pt>
                <c:pt idx="5987">
                  <c:v>-6.3655788762226103E-3</c:v>
                </c:pt>
                <c:pt idx="5988">
                  <c:v>-6.8211710363968465E-3</c:v>
                </c:pt>
                <c:pt idx="5989">
                  <c:v>-7.1505687078136197E-3</c:v>
                </c:pt>
                <c:pt idx="5990">
                  <c:v>-7.3297582346772668E-3</c:v>
                </c:pt>
                <c:pt idx="5991">
                  <c:v>-7.1682165363209146E-3</c:v>
                </c:pt>
                <c:pt idx="5992">
                  <c:v>-6.772452822184488E-3</c:v>
                </c:pt>
                <c:pt idx="5993">
                  <c:v>-6.4077479606290885E-3</c:v>
                </c:pt>
                <c:pt idx="5994">
                  <c:v>-6.1283134529919753E-3</c:v>
                </c:pt>
                <c:pt idx="5995">
                  <c:v>-5.8368102496760069E-3</c:v>
                </c:pt>
                <c:pt idx="5996">
                  <c:v>-5.5877858990660686E-3</c:v>
                </c:pt>
                <c:pt idx="5997">
                  <c:v>-5.41221550834892E-3</c:v>
                </c:pt>
                <c:pt idx="5998">
                  <c:v>-5.2541779733956458E-3</c:v>
                </c:pt>
                <c:pt idx="5999">
                  <c:v>-3.8660164480990265E-3</c:v>
                </c:pt>
                <c:pt idx="6000">
                  <c:v>-2.7909370092337703E-3</c:v>
                </c:pt>
                <c:pt idx="6001">
                  <c:v>-2.6559117899516392E-3</c:v>
                </c:pt>
                <c:pt idx="6002">
                  <c:v>-3.186229294336821E-3</c:v>
                </c:pt>
                <c:pt idx="6003">
                  <c:v>-3.6170021984669887E-3</c:v>
                </c:pt>
                <c:pt idx="6004">
                  <c:v>-4.5256775501882254E-3</c:v>
                </c:pt>
                <c:pt idx="6005">
                  <c:v>-4.6274861916299863E-3</c:v>
                </c:pt>
                <c:pt idx="6006">
                  <c:v>-4.7017837407245071E-3</c:v>
                </c:pt>
                <c:pt idx="6007">
                  <c:v>-6.1143524697513663E-3</c:v>
                </c:pt>
                <c:pt idx="6008">
                  <c:v>-6.0897355313277663E-3</c:v>
                </c:pt>
                <c:pt idx="6009">
                  <c:v>-5.7774635936875523E-3</c:v>
                </c:pt>
                <c:pt idx="6010">
                  <c:v>-5.4212363326724029E-3</c:v>
                </c:pt>
                <c:pt idx="6011">
                  <c:v>-5.0970133441162156E-3</c:v>
                </c:pt>
                <c:pt idx="6012">
                  <c:v>-4.7711816811313928E-3</c:v>
                </c:pt>
                <c:pt idx="6013">
                  <c:v>-4.73712181757733E-3</c:v>
                </c:pt>
                <c:pt idx="6014">
                  <c:v>-4.2060918124559813E-3</c:v>
                </c:pt>
                <c:pt idx="6015">
                  <c:v>-3.9606557770598587E-3</c:v>
                </c:pt>
                <c:pt idx="6016">
                  <c:v>-3.9276549389582758E-3</c:v>
                </c:pt>
                <c:pt idx="6017">
                  <c:v>-3.9520854918123089E-3</c:v>
                </c:pt>
                <c:pt idx="6018">
                  <c:v>-3.7788778270151403E-3</c:v>
                </c:pt>
                <c:pt idx="6019">
                  <c:v>-3.4782090297593559E-3</c:v>
                </c:pt>
                <c:pt idx="6020">
                  <c:v>-3.5885940359022036E-3</c:v>
                </c:pt>
                <c:pt idx="6021">
                  <c:v>-3.6706688243342087E-3</c:v>
                </c:pt>
                <c:pt idx="6022">
                  <c:v>-3.5282681035126804E-3</c:v>
                </c:pt>
                <c:pt idx="6023">
                  <c:v>-2.9564463393088949E-3</c:v>
                </c:pt>
                <c:pt idx="6024">
                  <c:v>-2.1536370655556338E-3</c:v>
                </c:pt>
                <c:pt idx="6025">
                  <c:v>-1.5106323369759988E-3</c:v>
                </c:pt>
                <c:pt idx="6026">
                  <c:v>-4.5430000037595571E-4</c:v>
                </c:pt>
                <c:pt idx="6027">
                  <c:v>1.0740065657348901E-3</c:v>
                </c:pt>
                <c:pt idx="6028">
                  <c:v>2.6391117262142463E-3</c:v>
                </c:pt>
                <c:pt idx="6029">
                  <c:v>3.3385018065378155E-3</c:v>
                </c:pt>
                <c:pt idx="6030">
                  <c:v>3.707152196908624E-3</c:v>
                </c:pt>
                <c:pt idx="6031">
                  <c:v>2.2439718710392511E-3</c:v>
                </c:pt>
                <c:pt idx="6032">
                  <c:v>1.1008603024479065E-3</c:v>
                </c:pt>
                <c:pt idx="6033">
                  <c:v>4.9071976131778196E-4</c:v>
                </c:pt>
                <c:pt idx="6034">
                  <c:v>4.6617747401530175E-4</c:v>
                </c:pt>
                <c:pt idx="6035">
                  <c:v>9.808367310077358E-5</c:v>
                </c:pt>
                <c:pt idx="6036">
                  <c:v>1.1790115724732292E-4</c:v>
                </c:pt>
                <c:pt idx="6037">
                  <c:v>1.5373920847775932E-4</c:v>
                </c:pt>
                <c:pt idx="6038">
                  <c:v>1.319057867317083E-4</c:v>
                </c:pt>
                <c:pt idx="6039">
                  <c:v>4.2311943062631197E-5</c:v>
                </c:pt>
                <c:pt idx="6040">
                  <c:v>-7.5605750741901227E-5</c:v>
                </c:pt>
                <c:pt idx="6041">
                  <c:v>-1.0359023435302633E-4</c:v>
                </c:pt>
                <c:pt idx="6042">
                  <c:v>-1.1233796282895513E-4</c:v>
                </c:pt>
                <c:pt idx="6043">
                  <c:v>-2.1307713421577813E-5</c:v>
                </c:pt>
                <c:pt idx="6044">
                  <c:v>-3.4861261951775468E-4</c:v>
                </c:pt>
                <c:pt idx="6045">
                  <c:v>-2.9586709116586739E-4</c:v>
                </c:pt>
                <c:pt idx="6046">
                  <c:v>-2.874761705883213E-4</c:v>
                </c:pt>
                <c:pt idx="6047">
                  <c:v>2.1736281856681635E-4</c:v>
                </c:pt>
                <c:pt idx="6048">
                  <c:v>1.5303780528156188E-4</c:v>
                </c:pt>
                <c:pt idx="6049">
                  <c:v>-1.5183262819344276E-4</c:v>
                </c:pt>
                <c:pt idx="6050">
                  <c:v>1.8385258760328215E-3</c:v>
                </c:pt>
                <c:pt idx="6051">
                  <c:v>2.6657276956327594E-3</c:v>
                </c:pt>
                <c:pt idx="6052">
                  <c:v>3.0414242828824545E-3</c:v>
                </c:pt>
                <c:pt idx="6053">
                  <c:v>1.1225620251379105E-3</c:v>
                </c:pt>
                <c:pt idx="6054">
                  <c:v>-1.5076393680131181E-3</c:v>
                </c:pt>
                <c:pt idx="6055">
                  <c:v>-2.9449707540649753E-3</c:v>
                </c:pt>
                <c:pt idx="6056">
                  <c:v>-4.1361822003490398E-3</c:v>
                </c:pt>
                <c:pt idx="6057">
                  <c:v>-5.1283747057985375E-3</c:v>
                </c:pt>
                <c:pt idx="6058">
                  <c:v>-5.9551508668215167E-3</c:v>
                </c:pt>
                <c:pt idx="6059">
                  <c:v>-6.7198389756804484E-3</c:v>
                </c:pt>
                <c:pt idx="6060">
                  <c:v>-7.1497451177062136E-3</c:v>
                </c:pt>
                <c:pt idx="6061">
                  <c:v>-7.379709080250629E-3</c:v>
                </c:pt>
                <c:pt idx="6062">
                  <c:v>-7.5350973377694176E-3</c:v>
                </c:pt>
                <c:pt idx="6063">
                  <c:v>-7.5612616212317671E-3</c:v>
                </c:pt>
                <c:pt idx="6064">
                  <c:v>-7.509494393620187E-3</c:v>
                </c:pt>
                <c:pt idx="6065">
                  <c:v>-7.3779574495763094E-3</c:v>
                </c:pt>
                <c:pt idx="6066">
                  <c:v>-7.2148559316077172E-3</c:v>
                </c:pt>
                <c:pt idx="6067">
                  <c:v>-7.087740643317372E-3</c:v>
                </c:pt>
                <c:pt idx="6068">
                  <c:v>-6.9930133989405032E-3</c:v>
                </c:pt>
                <c:pt idx="6069">
                  <c:v>-6.9590739882474367E-3</c:v>
                </c:pt>
                <c:pt idx="6070">
                  <c:v>-6.9101926766754647E-3</c:v>
                </c:pt>
                <c:pt idx="6071">
                  <c:v>-6.9929730327300665E-3</c:v>
                </c:pt>
                <c:pt idx="6072">
                  <c:v>-7.1033510494053088E-3</c:v>
                </c:pt>
                <c:pt idx="6073">
                  <c:v>-7.0694159380097089E-3</c:v>
                </c:pt>
                <c:pt idx="6074">
                  <c:v>-6.7552769840959256E-3</c:v>
                </c:pt>
                <c:pt idx="6075">
                  <c:v>-6.4392499646633876E-3</c:v>
                </c:pt>
                <c:pt idx="6076">
                  <c:v>-5.8688835849987466E-3</c:v>
                </c:pt>
                <c:pt idx="6077">
                  <c:v>-5.9935516377200857E-3</c:v>
                </c:pt>
                <c:pt idx="6078">
                  <c:v>-5.0091570432367295E-3</c:v>
                </c:pt>
                <c:pt idx="6079">
                  <c:v>-4.2067223014515508E-3</c:v>
                </c:pt>
                <c:pt idx="6080">
                  <c:v>-4.550409827941769E-3</c:v>
                </c:pt>
                <c:pt idx="6081">
                  <c:v>-4.3679063438627173E-3</c:v>
                </c:pt>
                <c:pt idx="6082">
                  <c:v>-4.9080330712818086E-3</c:v>
                </c:pt>
                <c:pt idx="6083">
                  <c:v>-5.9188989596009054E-3</c:v>
                </c:pt>
                <c:pt idx="6084">
                  <c:v>-6.7532797037988734E-3</c:v>
                </c:pt>
                <c:pt idx="6085">
                  <c:v>-7.3046818617610388E-3</c:v>
                </c:pt>
                <c:pt idx="6086">
                  <c:v>-7.3211786885868328E-3</c:v>
                </c:pt>
                <c:pt idx="6087">
                  <c:v>-6.9591086743437686E-3</c:v>
                </c:pt>
                <c:pt idx="6088">
                  <c:v>-5.0081818432837792E-3</c:v>
                </c:pt>
                <c:pt idx="6089">
                  <c:v>-3.6059512114871069E-3</c:v>
                </c:pt>
                <c:pt idx="6090">
                  <c:v>-3.9230041395997301E-3</c:v>
                </c:pt>
                <c:pt idx="6091">
                  <c:v>-4.2054525618074531E-3</c:v>
                </c:pt>
                <c:pt idx="6092">
                  <c:v>-3.7189959104666995E-3</c:v>
                </c:pt>
                <c:pt idx="6093">
                  <c:v>-4.0303037958458986E-3</c:v>
                </c:pt>
                <c:pt idx="6094">
                  <c:v>-4.0038900896395228E-3</c:v>
                </c:pt>
                <c:pt idx="6095">
                  <c:v>-4.0415645479249529E-3</c:v>
                </c:pt>
                <c:pt idx="6096">
                  <c:v>-4.1000519084414214E-3</c:v>
                </c:pt>
                <c:pt idx="6097">
                  <c:v>-4.1032884443000031E-3</c:v>
                </c:pt>
                <c:pt idx="6098">
                  <c:v>-4.1135680648016395E-3</c:v>
                </c:pt>
                <c:pt idx="6099">
                  <c:v>-3.7435874291557487E-3</c:v>
                </c:pt>
                <c:pt idx="6100">
                  <c:v>-3.4801542912101299E-3</c:v>
                </c:pt>
                <c:pt idx="6101">
                  <c:v>-3.0329686185073933E-3</c:v>
                </c:pt>
                <c:pt idx="6102">
                  <c:v>-2.126500836676164E-3</c:v>
                </c:pt>
                <c:pt idx="6103">
                  <c:v>-1.5258805970559796E-3</c:v>
                </c:pt>
                <c:pt idx="6104">
                  <c:v>-6.2832109294405462E-4</c:v>
                </c:pt>
                <c:pt idx="6105">
                  <c:v>6.6613829930043181E-4</c:v>
                </c:pt>
                <c:pt idx="6106">
                  <c:v>2.0226131099982964E-3</c:v>
                </c:pt>
                <c:pt idx="6107">
                  <c:v>3.6470154366507095E-3</c:v>
                </c:pt>
                <c:pt idx="6108">
                  <c:v>5.2350414275379991E-3</c:v>
                </c:pt>
                <c:pt idx="6109">
                  <c:v>5.7071039572184909E-3</c:v>
                </c:pt>
                <c:pt idx="6110">
                  <c:v>5.5716332275435208E-3</c:v>
                </c:pt>
                <c:pt idx="6111">
                  <c:v>5.2104059984705619E-3</c:v>
                </c:pt>
                <c:pt idx="6112">
                  <c:v>4.6424270065884279E-3</c:v>
                </c:pt>
                <c:pt idx="6113">
                  <c:v>4.1457080368802E-3</c:v>
                </c:pt>
                <c:pt idx="6114">
                  <c:v>3.9103096642690962E-3</c:v>
                </c:pt>
                <c:pt idx="6115">
                  <c:v>3.9092004662618796E-3</c:v>
                </c:pt>
                <c:pt idx="6116">
                  <c:v>3.9339236964121421E-3</c:v>
                </c:pt>
                <c:pt idx="6117">
                  <c:v>3.899472157351566E-3</c:v>
                </c:pt>
                <c:pt idx="6118">
                  <c:v>2.8028517044150743E-3</c:v>
                </c:pt>
                <c:pt idx="6119">
                  <c:v>1.063680729204191E-3</c:v>
                </c:pt>
                <c:pt idx="6120">
                  <c:v>6.024906641648297E-4</c:v>
                </c:pt>
                <c:pt idx="6121">
                  <c:v>-3.27762287104039E-4</c:v>
                </c:pt>
                <c:pt idx="6122">
                  <c:v>-2.4666375413666944E-3</c:v>
                </c:pt>
                <c:pt idx="6123">
                  <c:v>-2.9959791282798227E-3</c:v>
                </c:pt>
                <c:pt idx="6124">
                  <c:v>-3.7348940739817243E-3</c:v>
                </c:pt>
                <c:pt idx="6125">
                  <c:v>-4.1951378693878012E-3</c:v>
                </c:pt>
                <c:pt idx="6126">
                  <c:v>-4.3432349367924991E-3</c:v>
                </c:pt>
                <c:pt idx="6127">
                  <c:v>-4.435227473415646E-3</c:v>
                </c:pt>
                <c:pt idx="6128">
                  <c:v>-4.5343025766534451E-3</c:v>
                </c:pt>
                <c:pt idx="6129">
                  <c:v>-4.8256869334664595E-3</c:v>
                </c:pt>
                <c:pt idx="6130">
                  <c:v>-4.2927286122047088E-3</c:v>
                </c:pt>
                <c:pt idx="6131">
                  <c:v>-4.5145883561211846E-3</c:v>
                </c:pt>
                <c:pt idx="6132">
                  <c:v>-4.8787747337791006E-3</c:v>
                </c:pt>
                <c:pt idx="6133">
                  <c:v>-5.3903527481399208E-3</c:v>
                </c:pt>
                <c:pt idx="6134">
                  <c:v>-5.5265146905323602E-3</c:v>
                </c:pt>
                <c:pt idx="6135">
                  <c:v>-3.8970764018266433E-3</c:v>
                </c:pt>
                <c:pt idx="6136">
                  <c:v>-2.5070940702493251E-3</c:v>
                </c:pt>
                <c:pt idx="6137">
                  <c:v>-1.2414481351780901E-3</c:v>
                </c:pt>
                <c:pt idx="6138">
                  <c:v>-9.2226130150846811E-4</c:v>
                </c:pt>
                <c:pt idx="6139">
                  <c:v>-1.2238423906975049E-3</c:v>
                </c:pt>
                <c:pt idx="6140">
                  <c:v>-1.5872616783432093E-3</c:v>
                </c:pt>
                <c:pt idx="6141">
                  <c:v>-1.94173352268605E-3</c:v>
                </c:pt>
                <c:pt idx="6142">
                  <c:v>-2.0168019582827417E-3</c:v>
                </c:pt>
                <c:pt idx="6143">
                  <c:v>-2.025124343526535E-3</c:v>
                </c:pt>
                <c:pt idx="6144">
                  <c:v>-1.9216576478911264E-3</c:v>
                </c:pt>
                <c:pt idx="6145">
                  <c:v>-1.4386040087968344E-3</c:v>
                </c:pt>
                <c:pt idx="6146">
                  <c:v>-8.3245135326864665E-4</c:v>
                </c:pt>
                <c:pt idx="6147">
                  <c:v>-1.809094328654795E-4</c:v>
                </c:pt>
                <c:pt idx="6148">
                  <c:v>4.770039092856504E-4</c:v>
                </c:pt>
                <c:pt idx="6149">
                  <c:v>4.6118845093850135E-4</c:v>
                </c:pt>
                <c:pt idx="6150">
                  <c:v>3.2719354944680396E-4</c:v>
                </c:pt>
                <c:pt idx="6151">
                  <c:v>2.3258681006623795E-4</c:v>
                </c:pt>
                <c:pt idx="6152">
                  <c:v>1.8131551788950692E-4</c:v>
                </c:pt>
                <c:pt idx="6153">
                  <c:v>3.2789815103165601E-5</c:v>
                </c:pt>
                <c:pt idx="6154">
                  <c:v>6.609996272972235E-5</c:v>
                </c:pt>
                <c:pt idx="6155">
                  <c:v>-1.1299643054042165E-4</c:v>
                </c:pt>
                <c:pt idx="6156">
                  <c:v>-4.4985198067820469E-4</c:v>
                </c:pt>
                <c:pt idx="6157">
                  <c:v>-1.1260938271503845E-3</c:v>
                </c:pt>
                <c:pt idx="6158">
                  <c:v>-1.8371745978476659E-3</c:v>
                </c:pt>
                <c:pt idx="6159">
                  <c:v>-2.5362434035162626E-3</c:v>
                </c:pt>
                <c:pt idx="6160">
                  <c:v>-2.2928109084783266E-3</c:v>
                </c:pt>
                <c:pt idx="6161">
                  <c:v>-1.0550703373146432E-3</c:v>
                </c:pt>
                <c:pt idx="6162">
                  <c:v>1.3401512397448988E-4</c:v>
                </c:pt>
                <c:pt idx="6163">
                  <c:v>7.8428108439970549E-4</c:v>
                </c:pt>
                <c:pt idx="6164">
                  <c:v>5.9771789709502608E-4</c:v>
                </c:pt>
                <c:pt idx="6165">
                  <c:v>-4.0998265617365852E-4</c:v>
                </c:pt>
                <c:pt idx="6166">
                  <c:v>1.2370375357742009E-3</c:v>
                </c:pt>
                <c:pt idx="6167">
                  <c:v>1.899854444063629E-3</c:v>
                </c:pt>
                <c:pt idx="6168">
                  <c:v>2.4037728463215634E-3</c:v>
                </c:pt>
                <c:pt idx="6169">
                  <c:v>2.0971712374263929E-3</c:v>
                </c:pt>
                <c:pt idx="6170">
                  <c:v>1.7885059616774314E-3</c:v>
                </c:pt>
                <c:pt idx="6171">
                  <c:v>1.3671889134846214E-3</c:v>
                </c:pt>
                <c:pt idx="6172">
                  <c:v>1.0235811684602952E-3</c:v>
                </c:pt>
                <c:pt idx="6173">
                  <c:v>6.7787974975287539E-4</c:v>
                </c:pt>
                <c:pt idx="6174">
                  <c:v>5.1389596610537658E-4</c:v>
                </c:pt>
                <c:pt idx="6175">
                  <c:v>4.1592477752711368E-4</c:v>
                </c:pt>
                <c:pt idx="6176">
                  <c:v>4.051797404601501E-4</c:v>
                </c:pt>
                <c:pt idx="6177">
                  <c:v>3.0000858754032807E-4</c:v>
                </c:pt>
                <c:pt idx="6178">
                  <c:v>1.5433529762942134E-4</c:v>
                </c:pt>
                <c:pt idx="6179">
                  <c:v>3.6807660713783323E-4</c:v>
                </c:pt>
                <c:pt idx="6180">
                  <c:v>6.730300898099232E-4</c:v>
                </c:pt>
                <c:pt idx="6181">
                  <c:v>8.7380832333574555E-4</c:v>
                </c:pt>
                <c:pt idx="6182">
                  <c:v>8.4993726248967436E-4</c:v>
                </c:pt>
                <c:pt idx="6183">
                  <c:v>1.2258570227483018E-3</c:v>
                </c:pt>
                <c:pt idx="6184">
                  <c:v>1.3802682663654527E-3</c:v>
                </c:pt>
                <c:pt idx="6185">
                  <c:v>1.3919567757679063E-3</c:v>
                </c:pt>
                <c:pt idx="6186">
                  <c:v>1.1298319221232072E-3</c:v>
                </c:pt>
                <c:pt idx="6187">
                  <c:v>7.9289601059748423E-4</c:v>
                </c:pt>
                <c:pt idx="6188">
                  <c:v>4.0268669382127753E-4</c:v>
                </c:pt>
                <c:pt idx="6189">
                  <c:v>4.8784317015700303E-4</c:v>
                </c:pt>
                <c:pt idx="6190">
                  <c:v>-1.3852229443056009E-4</c:v>
                </c:pt>
                <c:pt idx="6191">
                  <c:v>-9.2486534422796252E-4</c:v>
                </c:pt>
                <c:pt idx="6192">
                  <c:v>-1.6555443604760189E-3</c:v>
                </c:pt>
                <c:pt idx="6193">
                  <c:v>-2.1680913726644449E-3</c:v>
                </c:pt>
                <c:pt idx="6194">
                  <c:v>-2.4934266648237689E-3</c:v>
                </c:pt>
                <c:pt idx="6195">
                  <c:v>-2.3439594730313602E-3</c:v>
                </c:pt>
                <c:pt idx="6196">
                  <c:v>-4.1739765036857487E-3</c:v>
                </c:pt>
                <c:pt idx="6197">
                  <c:v>-5.4438035629892356E-3</c:v>
                </c:pt>
                <c:pt idx="6198">
                  <c:v>-6.3370162113852496E-3</c:v>
                </c:pt>
                <c:pt idx="6199">
                  <c:v>-4.6682499329081147E-3</c:v>
                </c:pt>
                <c:pt idx="6200">
                  <c:v>-3.2197872785354568E-3</c:v>
                </c:pt>
                <c:pt idx="6201">
                  <c:v>-8.7222811373488876E-5</c:v>
                </c:pt>
                <c:pt idx="6202">
                  <c:v>3.6175648567089835E-3</c:v>
                </c:pt>
                <c:pt idx="6203">
                  <c:v>8.3212955884013444E-3</c:v>
                </c:pt>
                <c:pt idx="6204">
                  <c:v>1.1689824102512224E-2</c:v>
                </c:pt>
                <c:pt idx="6205">
                  <c:v>1.1361577187030574E-2</c:v>
                </c:pt>
                <c:pt idx="6206">
                  <c:v>1.1179649432341192E-2</c:v>
                </c:pt>
                <c:pt idx="6207">
                  <c:v>1.1193809898309023E-2</c:v>
                </c:pt>
                <c:pt idx="6208">
                  <c:v>4.1159153092531847E-2</c:v>
                </c:pt>
                <c:pt idx="6209">
                  <c:v>4.1598239244395138E-2</c:v>
                </c:pt>
                <c:pt idx="6210">
                  <c:v>4.1444368238296357E-2</c:v>
                </c:pt>
                <c:pt idx="6211">
                  <c:v>4.1845933336717052E-2</c:v>
                </c:pt>
                <c:pt idx="6212">
                  <c:v>4.8126602446357983E-2</c:v>
                </c:pt>
                <c:pt idx="6213">
                  <c:v>4.8215300255956509E-2</c:v>
                </c:pt>
                <c:pt idx="6214">
                  <c:v>4.8800900381536089E-2</c:v>
                </c:pt>
                <c:pt idx="6215">
                  <c:v>4.9105681628216324E-2</c:v>
                </c:pt>
                <c:pt idx="6216">
                  <c:v>4.940720592561984E-2</c:v>
                </c:pt>
                <c:pt idx="6217">
                  <c:v>5.0931275894881091E-2</c:v>
                </c:pt>
                <c:pt idx="6218">
                  <c:v>6.232946741231106E-2</c:v>
                </c:pt>
                <c:pt idx="6219">
                  <c:v>6.4333575685368974E-2</c:v>
                </c:pt>
                <c:pt idx="6220">
                  <c:v>6.5502795274003559E-2</c:v>
                </c:pt>
                <c:pt idx="6221">
                  <c:v>6.673370484256555E-2</c:v>
                </c:pt>
                <c:pt idx="6222">
                  <c:v>6.7553403418459362E-2</c:v>
                </c:pt>
                <c:pt idx="6223">
                  <c:v>6.7763993480195794E-2</c:v>
                </c:pt>
                <c:pt idx="6224">
                  <c:v>6.6123292706344733E-2</c:v>
                </c:pt>
                <c:pt idx="6225">
                  <c:v>6.4451832603145326E-2</c:v>
                </c:pt>
                <c:pt idx="6226">
                  <c:v>6.3391547636599932E-2</c:v>
                </c:pt>
                <c:pt idx="6227">
                  <c:v>6.3354505689463686E-2</c:v>
                </c:pt>
                <c:pt idx="6228">
                  <c:v>6.7689063767189056E-2</c:v>
                </c:pt>
                <c:pt idx="6229">
                  <c:v>7.0842928635299882E-2</c:v>
                </c:pt>
                <c:pt idx="6230">
                  <c:v>7.2102122758617979E-2</c:v>
                </c:pt>
                <c:pt idx="6231">
                  <c:v>8.233273270638472E-2</c:v>
                </c:pt>
                <c:pt idx="6232">
                  <c:v>8.3154471528499613E-2</c:v>
                </c:pt>
                <c:pt idx="6233">
                  <c:v>8.3042713707886129E-2</c:v>
                </c:pt>
                <c:pt idx="6234">
                  <c:v>8.3927307792468125E-2</c:v>
                </c:pt>
                <c:pt idx="6235">
                  <c:v>8.5780030019953241E-2</c:v>
                </c:pt>
                <c:pt idx="6236">
                  <c:v>8.5380999809589853E-2</c:v>
                </c:pt>
                <c:pt idx="6237">
                  <c:v>8.9733258842180252E-2</c:v>
                </c:pt>
                <c:pt idx="6238">
                  <c:v>8.1428274154523528E-2</c:v>
                </c:pt>
                <c:pt idx="6239">
                  <c:v>8.0502112397355441E-2</c:v>
                </c:pt>
                <c:pt idx="6240">
                  <c:v>8.000231043617162E-2</c:v>
                </c:pt>
                <c:pt idx="6241">
                  <c:v>7.8614305570869208E-2</c:v>
                </c:pt>
                <c:pt idx="6242">
                  <c:v>7.7650766760699347E-2</c:v>
                </c:pt>
                <c:pt idx="6243">
                  <c:v>7.9052018159449094E-2</c:v>
                </c:pt>
                <c:pt idx="6244">
                  <c:v>7.8537246895380775E-2</c:v>
                </c:pt>
                <c:pt idx="6245">
                  <c:v>7.8754407863507903E-2</c:v>
                </c:pt>
                <c:pt idx="6246">
                  <c:v>7.9913782169281966E-2</c:v>
                </c:pt>
                <c:pt idx="6247">
                  <c:v>8.4451766575235121E-2</c:v>
                </c:pt>
                <c:pt idx="6248">
                  <c:v>8.3627195136068089E-2</c:v>
                </c:pt>
                <c:pt idx="6249">
                  <c:v>8.2537095091090473E-2</c:v>
                </c:pt>
                <c:pt idx="6250">
                  <c:v>8.3061757503445383E-2</c:v>
                </c:pt>
                <c:pt idx="6251">
                  <c:v>8.2686257060268914E-2</c:v>
                </c:pt>
                <c:pt idx="6252">
                  <c:v>8.389641565180353E-2</c:v>
                </c:pt>
                <c:pt idx="6253">
                  <c:v>8.2566160401656347E-2</c:v>
                </c:pt>
                <c:pt idx="6254">
                  <c:v>8.4509107734770106E-2</c:v>
                </c:pt>
                <c:pt idx="6255">
                  <c:v>8.7023541101714924E-2</c:v>
                </c:pt>
                <c:pt idx="6256">
                  <c:v>9.2576996359499994E-2</c:v>
                </c:pt>
                <c:pt idx="6257">
                  <c:v>9.7516026570879349E-2</c:v>
                </c:pt>
                <c:pt idx="6258">
                  <c:v>9.6507285570201592E-2</c:v>
                </c:pt>
                <c:pt idx="6259">
                  <c:v>9.5280665807051079E-2</c:v>
                </c:pt>
                <c:pt idx="6260">
                  <c:v>9.4933312636225592E-2</c:v>
                </c:pt>
                <c:pt idx="6261">
                  <c:v>8.8659138613756003E-2</c:v>
                </c:pt>
                <c:pt idx="6262">
                  <c:v>8.9825003300621764E-2</c:v>
                </c:pt>
                <c:pt idx="6263">
                  <c:v>9.0079986192830683E-2</c:v>
                </c:pt>
                <c:pt idx="6264">
                  <c:v>8.9002941842853303E-2</c:v>
                </c:pt>
                <c:pt idx="6265">
                  <c:v>8.7325433254416093E-2</c:v>
                </c:pt>
                <c:pt idx="6266">
                  <c:v>8.858558348726224E-2</c:v>
                </c:pt>
                <c:pt idx="6267">
                  <c:v>8.2516605641615823E-2</c:v>
                </c:pt>
                <c:pt idx="6268">
                  <c:v>8.2501159563287685E-2</c:v>
                </c:pt>
                <c:pt idx="6269">
                  <c:v>8.7250796802459812E-2</c:v>
                </c:pt>
                <c:pt idx="6270">
                  <c:v>8.7660138818837788E-2</c:v>
                </c:pt>
                <c:pt idx="6271">
                  <c:v>8.7683460529529314E-2</c:v>
                </c:pt>
                <c:pt idx="6272">
                  <c:v>8.7415760163485387E-2</c:v>
                </c:pt>
                <c:pt idx="6273">
                  <c:v>8.7413313766321554E-2</c:v>
                </c:pt>
                <c:pt idx="6274">
                  <c:v>8.6677880215672132E-2</c:v>
                </c:pt>
                <c:pt idx="6275">
                  <c:v>0.10554755740550674</c:v>
                </c:pt>
                <c:pt idx="6276">
                  <c:v>0.10423893348324412</c:v>
                </c:pt>
                <c:pt idx="6277">
                  <c:v>9.9388052125204657E-2</c:v>
                </c:pt>
                <c:pt idx="6278">
                  <c:v>9.6930809610106652E-2</c:v>
                </c:pt>
                <c:pt idx="6279">
                  <c:v>9.6748967363345581E-2</c:v>
                </c:pt>
                <c:pt idx="6280">
                  <c:v>9.6749177577823253E-2</c:v>
                </c:pt>
                <c:pt idx="6281">
                  <c:v>9.6645836546945835E-2</c:v>
                </c:pt>
                <c:pt idx="6282">
                  <c:v>9.5026050616807231E-2</c:v>
                </c:pt>
                <c:pt idx="6283">
                  <c:v>9.4910141605407713E-2</c:v>
                </c:pt>
                <c:pt idx="6284">
                  <c:v>9.3972255172773939E-2</c:v>
                </c:pt>
                <c:pt idx="6285">
                  <c:v>9.268410043963303E-2</c:v>
                </c:pt>
                <c:pt idx="6286">
                  <c:v>9.1682861071219562E-2</c:v>
                </c:pt>
                <c:pt idx="6287">
                  <c:v>8.8933532739221846E-2</c:v>
                </c:pt>
                <c:pt idx="6288">
                  <c:v>8.7831818063106179E-2</c:v>
                </c:pt>
                <c:pt idx="6289">
                  <c:v>8.7089877504610821E-2</c:v>
                </c:pt>
                <c:pt idx="6290">
                  <c:v>9.0306879798375525E-2</c:v>
                </c:pt>
                <c:pt idx="6291">
                  <c:v>8.8943717973915426E-2</c:v>
                </c:pt>
                <c:pt idx="6292">
                  <c:v>8.9894287253103139E-2</c:v>
                </c:pt>
                <c:pt idx="6293">
                  <c:v>9.113024448567042E-2</c:v>
                </c:pt>
                <c:pt idx="6294">
                  <c:v>9.1185001172875466E-2</c:v>
                </c:pt>
                <c:pt idx="6295">
                  <c:v>9.2727040270759245E-2</c:v>
                </c:pt>
                <c:pt idx="6296">
                  <c:v>9.2295052471283931E-2</c:v>
                </c:pt>
                <c:pt idx="6297">
                  <c:v>9.2309638593380192E-2</c:v>
                </c:pt>
                <c:pt idx="6298">
                  <c:v>0.12026694336475297</c:v>
                </c:pt>
                <c:pt idx="6299">
                  <c:v>0.14035675027514652</c:v>
                </c:pt>
                <c:pt idx="6300">
                  <c:v>0.14828970403711397</c:v>
                </c:pt>
                <c:pt idx="6301">
                  <c:v>0.15365695073027064</c:v>
                </c:pt>
                <c:pt idx="6302">
                  <c:v>0.15760974218205154</c:v>
                </c:pt>
                <c:pt idx="6303">
                  <c:v>0.15771030516133094</c:v>
                </c:pt>
                <c:pt idx="6304">
                  <c:v>0.15711644776768133</c:v>
                </c:pt>
                <c:pt idx="6305">
                  <c:v>0.14868462188676701</c:v>
                </c:pt>
                <c:pt idx="6306">
                  <c:v>0.14871007412564019</c:v>
                </c:pt>
                <c:pt idx="6307">
                  <c:v>0.14864847572855119</c:v>
                </c:pt>
                <c:pt idx="6308">
                  <c:v>0.14622706574697167</c:v>
                </c:pt>
                <c:pt idx="6309">
                  <c:v>0.14542411204148531</c:v>
                </c:pt>
                <c:pt idx="6310">
                  <c:v>0.14525527720874515</c:v>
                </c:pt>
                <c:pt idx="6311">
                  <c:v>0.14486563831241317</c:v>
                </c:pt>
                <c:pt idx="6312">
                  <c:v>0.1454021450182747</c:v>
                </c:pt>
                <c:pt idx="6313">
                  <c:v>0.14755741463441072</c:v>
                </c:pt>
                <c:pt idx="6314">
                  <c:v>0.14885353510599078</c:v>
                </c:pt>
                <c:pt idx="6315">
                  <c:v>0.14988014389997345</c:v>
                </c:pt>
                <c:pt idx="6316">
                  <c:v>0.15084168718927693</c:v>
                </c:pt>
                <c:pt idx="6317">
                  <c:v>0.14999273556731493</c:v>
                </c:pt>
                <c:pt idx="6318">
                  <c:v>0.1495375323667556</c:v>
                </c:pt>
                <c:pt idx="6319">
                  <c:v>0.14834745712327294</c:v>
                </c:pt>
                <c:pt idx="6320">
                  <c:v>0.14808410698399402</c:v>
                </c:pt>
                <c:pt idx="6321">
                  <c:v>0.1486514325359638</c:v>
                </c:pt>
                <c:pt idx="6322">
                  <c:v>0.14867170316124623</c:v>
                </c:pt>
                <c:pt idx="6323">
                  <c:v>0.14860582946023063</c:v>
                </c:pt>
                <c:pt idx="6324">
                  <c:v>0.14809336212566335</c:v>
                </c:pt>
                <c:pt idx="6325">
                  <c:v>0.14660374676988794</c:v>
                </c:pt>
                <c:pt idx="6326">
                  <c:v>0.14628433490642598</c:v>
                </c:pt>
                <c:pt idx="6327">
                  <c:v>0.14710055644338593</c:v>
                </c:pt>
                <c:pt idx="6328">
                  <c:v>0.13098783833688871</c:v>
                </c:pt>
                <c:pt idx="6329">
                  <c:v>0.1082706355993449</c:v>
                </c:pt>
                <c:pt idx="6330">
                  <c:v>0.1101315093523067</c:v>
                </c:pt>
                <c:pt idx="6331">
                  <c:v>0.11103394707568474</c:v>
                </c:pt>
                <c:pt idx="6332">
                  <c:v>0.10293487331289514</c:v>
                </c:pt>
                <c:pt idx="6333">
                  <c:v>9.6803435090213108E-2</c:v>
                </c:pt>
                <c:pt idx="6334">
                  <c:v>9.7210676666492996E-2</c:v>
                </c:pt>
                <c:pt idx="6335">
                  <c:v>9.7213712223162996E-2</c:v>
                </c:pt>
                <c:pt idx="6336">
                  <c:v>9.7077884296858374E-2</c:v>
                </c:pt>
                <c:pt idx="6337">
                  <c:v>9.7216309844266199E-2</c:v>
                </c:pt>
                <c:pt idx="6338">
                  <c:v>9.6879299855858539E-2</c:v>
                </c:pt>
                <c:pt idx="6339">
                  <c:v>9.5404007555449588E-2</c:v>
                </c:pt>
                <c:pt idx="6340">
                  <c:v>9.4787488757442986E-2</c:v>
                </c:pt>
                <c:pt idx="6341">
                  <c:v>9.4806628400695273E-2</c:v>
                </c:pt>
                <c:pt idx="6342">
                  <c:v>9.5003239956437419E-2</c:v>
                </c:pt>
                <c:pt idx="6343">
                  <c:v>9.4033591471967798E-2</c:v>
                </c:pt>
                <c:pt idx="6344">
                  <c:v>9.4049181936300033E-2</c:v>
                </c:pt>
                <c:pt idx="6345">
                  <c:v>9.484975960834513E-2</c:v>
                </c:pt>
                <c:pt idx="6346">
                  <c:v>9.3534829285248977E-2</c:v>
                </c:pt>
                <c:pt idx="6347">
                  <c:v>9.2882237827204742E-2</c:v>
                </c:pt>
                <c:pt idx="6348">
                  <c:v>9.4223978945495321E-2</c:v>
                </c:pt>
                <c:pt idx="6349">
                  <c:v>9.4212143419015487E-2</c:v>
                </c:pt>
                <c:pt idx="6350">
                  <c:v>9.4411434432358693E-2</c:v>
                </c:pt>
                <c:pt idx="6351">
                  <c:v>9.455841804837968E-2</c:v>
                </c:pt>
                <c:pt idx="6352">
                  <c:v>9.5819842123743768E-2</c:v>
                </c:pt>
                <c:pt idx="6353">
                  <c:v>9.505652498227736E-2</c:v>
                </c:pt>
                <c:pt idx="6354">
                  <c:v>9.7768282074996993E-2</c:v>
                </c:pt>
                <c:pt idx="6355">
                  <c:v>9.7626676417418373E-2</c:v>
                </c:pt>
                <c:pt idx="6356">
                  <c:v>9.7142976957941107E-2</c:v>
                </c:pt>
                <c:pt idx="6357">
                  <c:v>9.7225265053054885E-2</c:v>
                </c:pt>
                <c:pt idx="6358">
                  <c:v>9.6648955559458308E-2</c:v>
                </c:pt>
                <c:pt idx="6359">
                  <c:v>9.5937908775719519E-2</c:v>
                </c:pt>
                <c:pt idx="6360">
                  <c:v>7.5551282965859209E-2</c:v>
                </c:pt>
                <c:pt idx="6361">
                  <c:v>5.482241715902092E-2</c:v>
                </c:pt>
                <c:pt idx="6362">
                  <c:v>4.544976665970564E-2</c:v>
                </c:pt>
                <c:pt idx="6363">
                  <c:v>4.0497877433959641E-2</c:v>
                </c:pt>
                <c:pt idx="6364">
                  <c:v>3.9878315586183613E-2</c:v>
                </c:pt>
                <c:pt idx="6365">
                  <c:v>3.8268573238500581E-2</c:v>
                </c:pt>
                <c:pt idx="6366">
                  <c:v>3.6916079855967121E-2</c:v>
                </c:pt>
                <c:pt idx="6367">
                  <c:v>3.5653519243271974E-2</c:v>
                </c:pt>
                <c:pt idx="6368">
                  <c:v>3.4503328421863176E-2</c:v>
                </c:pt>
                <c:pt idx="6369">
                  <c:v>3.3668462224137441E-2</c:v>
                </c:pt>
                <c:pt idx="6370">
                  <c:v>3.3099862274512344E-2</c:v>
                </c:pt>
                <c:pt idx="6371">
                  <c:v>3.2004124312508479E-2</c:v>
                </c:pt>
                <c:pt idx="6372">
                  <c:v>3.1566059882900593E-2</c:v>
                </c:pt>
                <c:pt idx="6373">
                  <c:v>3.129579558098447E-2</c:v>
                </c:pt>
                <c:pt idx="6374">
                  <c:v>3.1546968185644217E-2</c:v>
                </c:pt>
                <c:pt idx="6375">
                  <c:v>2.5927139516645707E-2</c:v>
                </c:pt>
                <c:pt idx="6376">
                  <c:v>2.5957619893336156E-2</c:v>
                </c:pt>
                <c:pt idx="6377">
                  <c:v>2.5663972598088662E-2</c:v>
                </c:pt>
                <c:pt idx="6378">
                  <c:v>2.9073118860078663E-2</c:v>
                </c:pt>
                <c:pt idx="6379">
                  <c:v>2.9664191622171626E-2</c:v>
                </c:pt>
                <c:pt idx="6380">
                  <c:v>3.1379062317878667E-2</c:v>
                </c:pt>
                <c:pt idx="6381">
                  <c:v>3.5387656271544506E-2</c:v>
                </c:pt>
                <c:pt idx="6382">
                  <c:v>3.4843463140422935E-2</c:v>
                </c:pt>
                <c:pt idx="6383">
                  <c:v>3.4732283857435133E-2</c:v>
                </c:pt>
                <c:pt idx="6384">
                  <c:v>2.5210665004036154E-2</c:v>
                </c:pt>
                <c:pt idx="6385">
                  <c:v>2.4623796430917173E-2</c:v>
                </c:pt>
                <c:pt idx="6386">
                  <c:v>2.4861371254349791E-2</c:v>
                </c:pt>
                <c:pt idx="6387">
                  <c:v>2.47757219958392E-2</c:v>
                </c:pt>
                <c:pt idx="6388">
                  <c:v>2.4452970566649718E-2</c:v>
                </c:pt>
                <c:pt idx="6389">
                  <c:v>2.5050646097794716E-2</c:v>
                </c:pt>
                <c:pt idx="6390">
                  <c:v>2.4837953371836582E-2</c:v>
                </c:pt>
                <c:pt idx="6391">
                  <c:v>2.4580852812432309E-2</c:v>
                </c:pt>
                <c:pt idx="6392">
                  <c:v>2.3829149182378551E-2</c:v>
                </c:pt>
                <c:pt idx="6393">
                  <c:v>2.3880150733471397E-2</c:v>
                </c:pt>
                <c:pt idx="6394">
                  <c:v>2.3581671099823582E-2</c:v>
                </c:pt>
                <c:pt idx="6395">
                  <c:v>2.393785734320605E-2</c:v>
                </c:pt>
                <c:pt idx="6396">
                  <c:v>2.4241183612332132E-2</c:v>
                </c:pt>
                <c:pt idx="6397">
                  <c:v>2.4606833731889245E-2</c:v>
                </c:pt>
                <c:pt idx="6398">
                  <c:v>2.540067843220414E-2</c:v>
                </c:pt>
                <c:pt idx="6399">
                  <c:v>2.6249176912537593E-2</c:v>
                </c:pt>
                <c:pt idx="6400">
                  <c:v>2.7057072718052588E-2</c:v>
                </c:pt>
                <c:pt idx="6401">
                  <c:v>2.7290254337723745E-2</c:v>
                </c:pt>
                <c:pt idx="6402">
                  <c:v>2.8287337612098534E-2</c:v>
                </c:pt>
                <c:pt idx="6403">
                  <c:v>2.9102075924862511E-2</c:v>
                </c:pt>
                <c:pt idx="6404">
                  <c:v>2.8727943426086616E-2</c:v>
                </c:pt>
                <c:pt idx="6405">
                  <c:v>2.7750768428824808E-2</c:v>
                </c:pt>
                <c:pt idx="6406">
                  <c:v>2.7004933762959413E-2</c:v>
                </c:pt>
                <c:pt idx="6407">
                  <c:v>2.7034590932239769E-2</c:v>
                </c:pt>
                <c:pt idx="6408">
                  <c:v>2.1688717304907196E-2</c:v>
                </c:pt>
                <c:pt idx="6409">
                  <c:v>2.1324204781154661E-2</c:v>
                </c:pt>
                <c:pt idx="6410">
                  <c:v>1.4570126766403853E-2</c:v>
                </c:pt>
                <c:pt idx="6411">
                  <c:v>1.3902069119190973E-3</c:v>
                </c:pt>
                <c:pt idx="6412">
                  <c:v>-3.0101295477103218E-3</c:v>
                </c:pt>
                <c:pt idx="6413">
                  <c:v>-3.9945295625990803E-3</c:v>
                </c:pt>
                <c:pt idx="6414">
                  <c:v>-3.9429846090419021E-3</c:v>
                </c:pt>
                <c:pt idx="6415">
                  <c:v>-4.7343012606983481E-3</c:v>
                </c:pt>
                <c:pt idx="6416">
                  <c:v>-4.5659049785367724E-3</c:v>
                </c:pt>
                <c:pt idx="6417">
                  <c:v>-4.3799851754108146E-3</c:v>
                </c:pt>
                <c:pt idx="6418">
                  <c:v>-4.0802498562710976E-3</c:v>
                </c:pt>
                <c:pt idx="6419">
                  <c:v>-5.6058188763229069E-3</c:v>
                </c:pt>
                <c:pt idx="6420">
                  <c:v>-5.2997087469682886E-3</c:v>
                </c:pt>
                <c:pt idx="6421">
                  <c:v>-5.404441151804368E-3</c:v>
                </c:pt>
                <c:pt idx="6422">
                  <c:v>-4.9497073909532414E-3</c:v>
                </c:pt>
                <c:pt idx="6423">
                  <c:v>-4.423680719444433E-3</c:v>
                </c:pt>
                <c:pt idx="6424">
                  <c:v>-4.3220679316040489E-3</c:v>
                </c:pt>
                <c:pt idx="6425">
                  <c:v>-4.3230705584781327E-3</c:v>
                </c:pt>
                <c:pt idx="6426">
                  <c:v>-4.2716706367640434E-3</c:v>
                </c:pt>
                <c:pt idx="6427">
                  <c:v>-3.8994951405862729E-3</c:v>
                </c:pt>
                <c:pt idx="6428">
                  <c:v>-3.3842497654021095E-3</c:v>
                </c:pt>
                <c:pt idx="6429">
                  <c:v>-3.7703794966994228E-3</c:v>
                </c:pt>
                <c:pt idx="6430">
                  <c:v>-4.3543527802586144E-3</c:v>
                </c:pt>
                <c:pt idx="6431">
                  <c:v>-4.8916822736557652E-3</c:v>
                </c:pt>
                <c:pt idx="6432">
                  <c:v>-6.51414008320075E-4</c:v>
                </c:pt>
                <c:pt idx="6433">
                  <c:v>-1.1466546188387133E-4</c:v>
                </c:pt>
                <c:pt idx="6434">
                  <c:v>-4.1068430812141003E-4</c:v>
                </c:pt>
                <c:pt idx="6435">
                  <c:v>-4.4473217463866267E-4</c:v>
                </c:pt>
                <c:pt idx="6436">
                  <c:v>-4.629922908959902E-4</c:v>
                </c:pt>
                <c:pt idx="6437">
                  <c:v>-6.0634770644608926E-4</c:v>
                </c:pt>
                <c:pt idx="6438">
                  <c:v>3.8332780433395469E-2</c:v>
                </c:pt>
                <c:pt idx="6439">
                  <c:v>6.8845528104348047E-2</c:v>
                </c:pt>
                <c:pt idx="6440">
                  <c:v>8.1238831930800046E-2</c:v>
                </c:pt>
                <c:pt idx="6441">
                  <c:v>8.423191413403279E-2</c:v>
                </c:pt>
                <c:pt idx="6442">
                  <c:v>8.9023946366314416E-2</c:v>
                </c:pt>
                <c:pt idx="6443">
                  <c:v>9.1867901721355449E-2</c:v>
                </c:pt>
                <c:pt idx="6444">
                  <c:v>9.4962406967446594E-2</c:v>
                </c:pt>
                <c:pt idx="6445">
                  <c:v>9.4933928432095291E-2</c:v>
                </c:pt>
                <c:pt idx="6446">
                  <c:v>9.6893596378505517E-2</c:v>
                </c:pt>
                <c:pt idx="6447">
                  <c:v>9.5757941707802288E-2</c:v>
                </c:pt>
                <c:pt idx="6448">
                  <c:v>9.5285600748408542E-2</c:v>
                </c:pt>
                <c:pt idx="6449">
                  <c:v>9.5357141547491545E-2</c:v>
                </c:pt>
                <c:pt idx="6450">
                  <c:v>9.5203014171438421E-2</c:v>
                </c:pt>
                <c:pt idx="6451">
                  <c:v>9.5114374393795637E-2</c:v>
                </c:pt>
                <c:pt idx="6452">
                  <c:v>9.5194236417225755E-2</c:v>
                </c:pt>
                <c:pt idx="6453">
                  <c:v>9.487647804030494E-2</c:v>
                </c:pt>
                <c:pt idx="6454">
                  <c:v>9.4496864082764503E-2</c:v>
                </c:pt>
                <c:pt idx="6455">
                  <c:v>9.4314813695244512E-2</c:v>
                </c:pt>
                <c:pt idx="6456">
                  <c:v>9.4301263090245446E-2</c:v>
                </c:pt>
                <c:pt idx="6457">
                  <c:v>9.4207840129053172E-2</c:v>
                </c:pt>
                <c:pt idx="6458">
                  <c:v>9.3741223815594479E-2</c:v>
                </c:pt>
                <c:pt idx="6459">
                  <c:v>9.310812161413301E-2</c:v>
                </c:pt>
                <c:pt idx="6460">
                  <c:v>9.2859575373893055E-2</c:v>
                </c:pt>
                <c:pt idx="6461">
                  <c:v>9.239261343775923E-2</c:v>
                </c:pt>
                <c:pt idx="6462">
                  <c:v>9.2883278354708151E-2</c:v>
                </c:pt>
                <c:pt idx="6463">
                  <c:v>9.2488702356437663E-2</c:v>
                </c:pt>
                <c:pt idx="6464">
                  <c:v>9.2951300889475577E-2</c:v>
                </c:pt>
                <c:pt idx="6465">
                  <c:v>9.3495966008836431E-2</c:v>
                </c:pt>
                <c:pt idx="6466">
                  <c:v>9.4780020333027459E-2</c:v>
                </c:pt>
                <c:pt idx="6467">
                  <c:v>9.605439437121599E-2</c:v>
                </c:pt>
                <c:pt idx="6468">
                  <c:v>9.0119278174347756E-2</c:v>
                </c:pt>
                <c:pt idx="6469">
                  <c:v>8.5081110002874924E-2</c:v>
                </c:pt>
                <c:pt idx="6470">
                  <c:v>0.10482758027283103</c:v>
                </c:pt>
                <c:pt idx="6471">
                  <c:v>0.14502160373034187</c:v>
                </c:pt>
                <c:pt idx="6472">
                  <c:v>0.16298341378974737</c:v>
                </c:pt>
                <c:pt idx="6473">
                  <c:v>0.16812113997007705</c:v>
                </c:pt>
                <c:pt idx="6474">
                  <c:v>0.16818235903850676</c:v>
                </c:pt>
                <c:pt idx="6475">
                  <c:v>0.16672476762296939</c:v>
                </c:pt>
                <c:pt idx="6476">
                  <c:v>0.16597506432136239</c:v>
                </c:pt>
                <c:pt idx="6477">
                  <c:v>0.16635919460836077</c:v>
                </c:pt>
                <c:pt idx="6478">
                  <c:v>0.16620292292290081</c:v>
                </c:pt>
                <c:pt idx="6479">
                  <c:v>0.16559052320713116</c:v>
                </c:pt>
                <c:pt idx="6480">
                  <c:v>0.1645270484441364</c:v>
                </c:pt>
                <c:pt idx="6481">
                  <c:v>0.16486243788407606</c:v>
                </c:pt>
                <c:pt idx="6482">
                  <c:v>0.16423903524522043</c:v>
                </c:pt>
                <c:pt idx="6483">
                  <c:v>0.16449871132319038</c:v>
                </c:pt>
                <c:pt idx="6484">
                  <c:v>0.16462536111858328</c:v>
                </c:pt>
                <c:pt idx="6485">
                  <c:v>0.16400471421688428</c:v>
                </c:pt>
                <c:pt idx="6486">
                  <c:v>0.16403561113230986</c:v>
                </c:pt>
                <c:pt idx="6487">
                  <c:v>0.16348153685273409</c:v>
                </c:pt>
                <c:pt idx="6488">
                  <c:v>0.16409837456967541</c:v>
                </c:pt>
                <c:pt idx="6489">
                  <c:v>0.16401005232508969</c:v>
                </c:pt>
                <c:pt idx="6490">
                  <c:v>0.16540430423767291</c:v>
                </c:pt>
                <c:pt idx="6491">
                  <c:v>0.16720894155216814</c:v>
                </c:pt>
                <c:pt idx="6492">
                  <c:v>0.16888177536722065</c:v>
                </c:pt>
                <c:pt idx="6493">
                  <c:v>0.16928837540059677</c:v>
                </c:pt>
                <c:pt idx="6494">
                  <c:v>0.17047841750300499</c:v>
                </c:pt>
                <c:pt idx="6495">
                  <c:v>0.17003141028403751</c:v>
                </c:pt>
                <c:pt idx="6496">
                  <c:v>0.16832646722092387</c:v>
                </c:pt>
                <c:pt idx="6497">
                  <c:v>0.17411499297620525</c:v>
                </c:pt>
                <c:pt idx="6498">
                  <c:v>0.17726061172051652</c:v>
                </c:pt>
                <c:pt idx="6499">
                  <c:v>0.17935117883365115</c:v>
                </c:pt>
                <c:pt idx="6500">
                  <c:v>0.16817758601909844</c:v>
                </c:pt>
                <c:pt idx="6501">
                  <c:v>0.13823839761288254</c:v>
                </c:pt>
                <c:pt idx="6502">
                  <c:v>0.11389696904745505</c:v>
                </c:pt>
                <c:pt idx="6503">
                  <c:v>0.10331729447443648</c:v>
                </c:pt>
                <c:pt idx="6504">
                  <c:v>0.10020003971907974</c:v>
                </c:pt>
                <c:pt idx="6505">
                  <c:v>0.10007980228830267</c:v>
                </c:pt>
                <c:pt idx="6506">
                  <c:v>0.10101290609304307</c:v>
                </c:pt>
                <c:pt idx="6507">
                  <c:v>0.10216065973783871</c:v>
                </c:pt>
                <c:pt idx="6508">
                  <c:v>0.1029639213089127</c:v>
                </c:pt>
                <c:pt idx="6509">
                  <c:v>9.8834789857393357E-2</c:v>
                </c:pt>
                <c:pt idx="6510">
                  <c:v>9.5912503286781595E-2</c:v>
                </c:pt>
                <c:pt idx="6511">
                  <c:v>9.2872999480392654E-2</c:v>
                </c:pt>
                <c:pt idx="6512">
                  <c:v>9.2381691340269897E-2</c:v>
                </c:pt>
                <c:pt idx="6513">
                  <c:v>8.8960247528620404E-2</c:v>
                </c:pt>
                <c:pt idx="6514">
                  <c:v>8.5918617875915024E-2</c:v>
                </c:pt>
                <c:pt idx="6515">
                  <c:v>8.4997401784605506E-2</c:v>
                </c:pt>
                <c:pt idx="6516">
                  <c:v>8.5008437404761952E-2</c:v>
                </c:pt>
                <c:pt idx="6517">
                  <c:v>8.5374336408390122E-2</c:v>
                </c:pt>
                <c:pt idx="6518">
                  <c:v>8.5271865950264619E-2</c:v>
                </c:pt>
                <c:pt idx="6519">
                  <c:v>8.5363235609647384E-2</c:v>
                </c:pt>
                <c:pt idx="6520">
                  <c:v>8.4524888475228016E-2</c:v>
                </c:pt>
                <c:pt idx="6521">
                  <c:v>8.4424590747392891E-2</c:v>
                </c:pt>
                <c:pt idx="6522">
                  <c:v>8.4569822058331065E-2</c:v>
                </c:pt>
                <c:pt idx="6523">
                  <c:v>8.4973396403152213E-2</c:v>
                </c:pt>
                <c:pt idx="6524">
                  <c:v>8.4725692746778714E-2</c:v>
                </c:pt>
                <c:pt idx="6525">
                  <c:v>8.5107758300481187E-2</c:v>
                </c:pt>
                <c:pt idx="6526">
                  <c:v>8.3257769237585821E-2</c:v>
                </c:pt>
                <c:pt idx="6527">
                  <c:v>5.311028208737293E-2</c:v>
                </c:pt>
                <c:pt idx="6528">
                  <c:v>3.1703081550804417E-2</c:v>
                </c:pt>
                <c:pt idx="6529">
                  <c:v>1.1466291108705687E-2</c:v>
                </c:pt>
                <c:pt idx="6530">
                  <c:v>9.9604704317878476E-3</c:v>
                </c:pt>
                <c:pt idx="6531">
                  <c:v>1.0106606836412704E-2</c:v>
                </c:pt>
                <c:pt idx="6532">
                  <c:v>1.0510087855234142E-2</c:v>
                </c:pt>
                <c:pt idx="6533">
                  <c:v>8.0161353960735721E-3</c:v>
                </c:pt>
                <c:pt idx="6534">
                  <c:v>3.8454165823394171E-3</c:v>
                </c:pt>
                <c:pt idx="6535">
                  <c:v>1.6300800000159689E-4</c:v>
                </c:pt>
                <c:pt idx="6536">
                  <c:v>2.0949890146575011E-3</c:v>
                </c:pt>
                <c:pt idx="6537">
                  <c:v>3.8078364864406154E-3</c:v>
                </c:pt>
                <c:pt idx="6538">
                  <c:v>6.6275534457360145E-3</c:v>
                </c:pt>
                <c:pt idx="6539">
                  <c:v>7.1659838943772597E-3</c:v>
                </c:pt>
                <c:pt idx="6540">
                  <c:v>7.1542588688792352E-3</c:v>
                </c:pt>
                <c:pt idx="6541">
                  <c:v>7.3421153935259963E-3</c:v>
                </c:pt>
                <c:pt idx="6542">
                  <c:v>7.2139451328935619E-3</c:v>
                </c:pt>
                <c:pt idx="6543">
                  <c:v>7.3207395776468441E-3</c:v>
                </c:pt>
                <c:pt idx="6544">
                  <c:v>7.2512343474464549E-3</c:v>
                </c:pt>
                <c:pt idx="6545">
                  <c:v>7.4512867288566015E-3</c:v>
                </c:pt>
                <c:pt idx="6546">
                  <c:v>8.2975137217249882E-3</c:v>
                </c:pt>
                <c:pt idx="6547">
                  <c:v>9.6028186225960519E-3</c:v>
                </c:pt>
                <c:pt idx="6548">
                  <c:v>1.1430453123805322E-2</c:v>
                </c:pt>
                <c:pt idx="6549">
                  <c:v>1.1856717457986374E-2</c:v>
                </c:pt>
                <c:pt idx="6550">
                  <c:v>1.016569749181853E-2</c:v>
                </c:pt>
                <c:pt idx="6551">
                  <c:v>9.4658111826314145E-3</c:v>
                </c:pt>
                <c:pt idx="6552">
                  <c:v>7.5054945733452859E-3</c:v>
                </c:pt>
                <c:pt idx="6553">
                  <c:v>5.2437372617123307E-3</c:v>
                </c:pt>
                <c:pt idx="6554">
                  <c:v>3.6527050526261318E-3</c:v>
                </c:pt>
                <c:pt idx="6555">
                  <c:v>3.1404584303903523E-3</c:v>
                </c:pt>
                <c:pt idx="6556">
                  <c:v>2.8185980819559666E-3</c:v>
                </c:pt>
                <c:pt idx="6557">
                  <c:v>2.1577137617228726E-3</c:v>
                </c:pt>
                <c:pt idx="6558">
                  <c:v>2.3549029121920952E-3</c:v>
                </c:pt>
                <c:pt idx="6559">
                  <c:v>2.3240303298319373E-3</c:v>
                </c:pt>
                <c:pt idx="6560">
                  <c:v>1.8390992529558579E-3</c:v>
                </c:pt>
                <c:pt idx="6561">
                  <c:v>1.90311362966274E-3</c:v>
                </c:pt>
                <c:pt idx="6562">
                  <c:v>1.901595377086146E-3</c:v>
                </c:pt>
                <c:pt idx="6563">
                  <c:v>1.9099555619166222E-3</c:v>
                </c:pt>
                <c:pt idx="6564">
                  <c:v>1.883108655498034E-3</c:v>
                </c:pt>
                <c:pt idx="6565">
                  <c:v>1.8780042587869424E-3</c:v>
                </c:pt>
                <c:pt idx="6566">
                  <c:v>1.8986423329792109E-3</c:v>
                </c:pt>
                <c:pt idx="6567">
                  <c:v>2.3432156650549547E-3</c:v>
                </c:pt>
                <c:pt idx="6568">
                  <c:v>2.673467159339464E-3</c:v>
                </c:pt>
                <c:pt idx="6569">
                  <c:v>2.9867721164390224E-2</c:v>
                </c:pt>
                <c:pt idx="6570">
                  <c:v>3.8893597616015713E-2</c:v>
                </c:pt>
                <c:pt idx="6571">
                  <c:v>3.7935689179803375E-2</c:v>
                </c:pt>
                <c:pt idx="6572">
                  <c:v>3.7363476626390016E-2</c:v>
                </c:pt>
                <c:pt idx="6573">
                  <c:v>3.6841256836132708E-2</c:v>
                </c:pt>
                <c:pt idx="6574">
                  <c:v>3.6394612462597328E-2</c:v>
                </c:pt>
                <c:pt idx="6575">
                  <c:v>3.6486342408102224E-2</c:v>
                </c:pt>
                <c:pt idx="6576">
                  <c:v>3.6214996799311838E-2</c:v>
                </c:pt>
                <c:pt idx="6577">
                  <c:v>3.5992264315578941E-2</c:v>
                </c:pt>
                <c:pt idx="6578">
                  <c:v>3.6178116817576322E-2</c:v>
                </c:pt>
                <c:pt idx="6579">
                  <c:v>3.5876959835808631E-2</c:v>
                </c:pt>
                <c:pt idx="6580">
                  <c:v>3.5497134380751409E-2</c:v>
                </c:pt>
                <c:pt idx="6581">
                  <c:v>4.1914948652259684E-2</c:v>
                </c:pt>
                <c:pt idx="6582">
                  <c:v>4.2035849685883697E-2</c:v>
                </c:pt>
                <c:pt idx="6583">
                  <c:v>4.2326354796411628E-2</c:v>
                </c:pt>
                <c:pt idx="6584">
                  <c:v>4.2158049858943981E-2</c:v>
                </c:pt>
                <c:pt idx="6585">
                  <c:v>4.1602938030946647E-2</c:v>
                </c:pt>
                <c:pt idx="6586">
                  <c:v>4.1357989803358711E-2</c:v>
                </c:pt>
                <c:pt idx="6587">
                  <c:v>4.1470823165525514E-2</c:v>
                </c:pt>
                <c:pt idx="6588">
                  <c:v>4.1868668988390707E-2</c:v>
                </c:pt>
                <c:pt idx="6589">
                  <c:v>4.2430196367780351E-2</c:v>
                </c:pt>
                <c:pt idx="6590">
                  <c:v>4.3011202169387461E-2</c:v>
                </c:pt>
                <c:pt idx="6591">
                  <c:v>4.3591531715374027E-2</c:v>
                </c:pt>
                <c:pt idx="6592">
                  <c:v>4.3419557795010916E-2</c:v>
                </c:pt>
                <c:pt idx="6593">
                  <c:v>4.3478165631317345E-2</c:v>
                </c:pt>
                <c:pt idx="6594">
                  <c:v>4.3492723028191349E-2</c:v>
                </c:pt>
                <c:pt idx="6595">
                  <c:v>4.348011878939001E-2</c:v>
                </c:pt>
                <c:pt idx="6596">
                  <c:v>4.3116005700294724E-2</c:v>
                </c:pt>
                <c:pt idx="6597">
                  <c:v>4.2687457336076595E-2</c:v>
                </c:pt>
                <c:pt idx="6598">
                  <c:v>4.2312190633555291E-2</c:v>
                </c:pt>
                <c:pt idx="6599">
                  <c:v>2.7808781482883866E-2</c:v>
                </c:pt>
                <c:pt idx="6600">
                  <c:v>1.6091856571616135E-2</c:v>
                </c:pt>
                <c:pt idx="6601">
                  <c:v>1.558048435485743E-2</c:v>
                </c:pt>
                <c:pt idx="6602">
                  <c:v>1.5386453845148258E-2</c:v>
                </c:pt>
                <c:pt idx="6603">
                  <c:v>1.5362924305203515E-2</c:v>
                </c:pt>
                <c:pt idx="6604">
                  <c:v>1.532089324181091E-2</c:v>
                </c:pt>
                <c:pt idx="6605">
                  <c:v>1.507960242634919E-2</c:v>
                </c:pt>
                <c:pt idx="6606">
                  <c:v>1.550212691528615E-2</c:v>
                </c:pt>
                <c:pt idx="6607">
                  <c:v>1.5557088608538577E-2</c:v>
                </c:pt>
                <c:pt idx="6608">
                  <c:v>1.4716862569470947E-2</c:v>
                </c:pt>
                <c:pt idx="6609">
                  <c:v>1.4710366171132458E-2</c:v>
                </c:pt>
                <c:pt idx="6610">
                  <c:v>1.5019653527089186E-2</c:v>
                </c:pt>
                <c:pt idx="6611">
                  <c:v>-3.9489195799046212E-3</c:v>
                </c:pt>
                <c:pt idx="6612">
                  <c:v>-3.4685957826564827E-3</c:v>
                </c:pt>
                <c:pt idx="6613">
                  <c:v>-3.6368801562126161E-3</c:v>
                </c:pt>
                <c:pt idx="6614">
                  <c:v>-4.4589289917166229E-3</c:v>
                </c:pt>
                <c:pt idx="6615">
                  <c:v>-3.9993033668156985E-3</c:v>
                </c:pt>
                <c:pt idx="6616">
                  <c:v>-2.7861196444512685E-3</c:v>
                </c:pt>
                <c:pt idx="6617">
                  <c:v>-2.4159369563616084E-3</c:v>
                </c:pt>
                <c:pt idx="6618">
                  <c:v>-1.3023666960625957E-3</c:v>
                </c:pt>
                <c:pt idx="6619">
                  <c:v>3.9985852562926388E-3</c:v>
                </c:pt>
                <c:pt idx="6620">
                  <c:v>4.4368789379625635E-3</c:v>
                </c:pt>
                <c:pt idx="6621">
                  <c:v>1.5244045360157473E-2</c:v>
                </c:pt>
                <c:pt idx="6622">
                  <c:v>4.5145656379102991E-2</c:v>
                </c:pt>
                <c:pt idx="6623">
                  <c:v>6.3274889336484522E-2</c:v>
                </c:pt>
                <c:pt idx="6624">
                  <c:v>7.2419175907085423E-2</c:v>
                </c:pt>
                <c:pt idx="6625">
                  <c:v>7.9963318356939553E-2</c:v>
                </c:pt>
                <c:pt idx="6626">
                  <c:v>7.9910541341531971E-2</c:v>
                </c:pt>
                <c:pt idx="6627">
                  <c:v>7.9274668301973245E-2</c:v>
                </c:pt>
                <c:pt idx="6628">
                  <c:v>7.8189738560831154E-2</c:v>
                </c:pt>
                <c:pt idx="6629">
                  <c:v>7.8381169585366534E-2</c:v>
                </c:pt>
                <c:pt idx="6630">
                  <c:v>7.8519187387042916E-2</c:v>
                </c:pt>
                <c:pt idx="6631">
                  <c:v>7.8188170032316262E-2</c:v>
                </c:pt>
                <c:pt idx="6632">
                  <c:v>7.7576114353843734E-2</c:v>
                </c:pt>
                <c:pt idx="6633">
                  <c:v>7.8001568849934366E-2</c:v>
                </c:pt>
                <c:pt idx="6634">
                  <c:v>7.8871316075364295E-2</c:v>
                </c:pt>
                <c:pt idx="6635">
                  <c:v>7.9680291095827888E-2</c:v>
                </c:pt>
                <c:pt idx="6636">
                  <c:v>7.9688185629041092E-2</c:v>
                </c:pt>
                <c:pt idx="6637">
                  <c:v>8.014407009475584E-2</c:v>
                </c:pt>
                <c:pt idx="6638">
                  <c:v>8.0543840913294973E-2</c:v>
                </c:pt>
                <c:pt idx="6639">
                  <c:v>8.1368275747808E-2</c:v>
                </c:pt>
                <c:pt idx="6640">
                  <c:v>8.114916378274889E-2</c:v>
                </c:pt>
                <c:pt idx="6641">
                  <c:v>8.0748957595391246E-2</c:v>
                </c:pt>
                <c:pt idx="6642">
                  <c:v>8.0482402429370589E-2</c:v>
                </c:pt>
                <c:pt idx="6643">
                  <c:v>8.0460526593257573E-2</c:v>
                </c:pt>
                <c:pt idx="6644">
                  <c:v>8.0216213286484664E-2</c:v>
                </c:pt>
                <c:pt idx="6645">
                  <c:v>7.9944884222404228E-2</c:v>
                </c:pt>
                <c:pt idx="6646">
                  <c:v>7.9517006464825291E-2</c:v>
                </c:pt>
                <c:pt idx="6647">
                  <c:v>7.9711379116488165E-2</c:v>
                </c:pt>
                <c:pt idx="6648">
                  <c:v>7.9351273360090416E-2</c:v>
                </c:pt>
                <c:pt idx="6649">
                  <c:v>8.0019454022552089E-2</c:v>
                </c:pt>
                <c:pt idx="6650">
                  <c:v>8.0327287729775557E-2</c:v>
                </c:pt>
                <c:pt idx="6651">
                  <c:v>7.9554101610442005E-2</c:v>
                </c:pt>
                <c:pt idx="6652">
                  <c:v>7.0088877671624791E-2</c:v>
                </c:pt>
                <c:pt idx="6653">
                  <c:v>5.802979800460463E-2</c:v>
                </c:pt>
                <c:pt idx="6654">
                  <c:v>4.5488477813194365E-2</c:v>
                </c:pt>
                <c:pt idx="6655">
                  <c:v>3.3169502148558058E-2</c:v>
                </c:pt>
                <c:pt idx="6656">
                  <c:v>6.3004360669650192E-2</c:v>
                </c:pt>
                <c:pt idx="6657">
                  <c:v>7.6483386584479285E-2</c:v>
                </c:pt>
                <c:pt idx="6658">
                  <c:v>8.0905383211968204E-2</c:v>
                </c:pt>
                <c:pt idx="6659">
                  <c:v>8.1211465673853983E-2</c:v>
                </c:pt>
                <c:pt idx="6660">
                  <c:v>8.0579233366109185E-2</c:v>
                </c:pt>
                <c:pt idx="6661">
                  <c:v>8.0395462878297561E-2</c:v>
                </c:pt>
                <c:pt idx="6662">
                  <c:v>8.0444401100383991E-2</c:v>
                </c:pt>
                <c:pt idx="6663">
                  <c:v>8.0302677453473262E-2</c:v>
                </c:pt>
                <c:pt idx="6664">
                  <c:v>7.9689124247508278E-2</c:v>
                </c:pt>
                <c:pt idx="6665">
                  <c:v>7.9591282071707514E-2</c:v>
                </c:pt>
                <c:pt idx="6666">
                  <c:v>8.0535144484161825E-2</c:v>
                </c:pt>
                <c:pt idx="6667">
                  <c:v>8.1420885122163042E-2</c:v>
                </c:pt>
                <c:pt idx="6668">
                  <c:v>8.2533252356609799E-2</c:v>
                </c:pt>
                <c:pt idx="6669">
                  <c:v>8.2866099583601763E-2</c:v>
                </c:pt>
                <c:pt idx="6670">
                  <c:v>8.3679503403633407E-2</c:v>
                </c:pt>
                <c:pt idx="6671">
                  <c:v>8.3403001990761713E-2</c:v>
                </c:pt>
                <c:pt idx="6672">
                  <c:v>8.2465908276847813E-2</c:v>
                </c:pt>
                <c:pt idx="6673">
                  <c:v>8.2895891177427697E-2</c:v>
                </c:pt>
                <c:pt idx="6674">
                  <c:v>8.2889927728026294E-2</c:v>
                </c:pt>
                <c:pt idx="6675">
                  <c:v>8.5520231938421759E-2</c:v>
                </c:pt>
                <c:pt idx="6676">
                  <c:v>8.7624955628924209E-2</c:v>
                </c:pt>
                <c:pt idx="6677">
                  <c:v>8.791080249590677E-2</c:v>
                </c:pt>
                <c:pt idx="6678">
                  <c:v>8.716490279645478E-2</c:v>
                </c:pt>
                <c:pt idx="6679">
                  <c:v>8.6750737513646287E-2</c:v>
                </c:pt>
                <c:pt idx="6680">
                  <c:v>8.5418278082171784E-2</c:v>
                </c:pt>
                <c:pt idx="6681">
                  <c:v>8.5081061554945964E-2</c:v>
                </c:pt>
                <c:pt idx="6682">
                  <c:v>8.4908957033507204E-2</c:v>
                </c:pt>
                <c:pt idx="6683">
                  <c:v>8.4731703779546599E-2</c:v>
                </c:pt>
                <c:pt idx="6684">
                  <c:v>8.5344801264211734E-2</c:v>
                </c:pt>
                <c:pt idx="6685">
                  <c:v>8.5946193942903787E-2</c:v>
                </c:pt>
                <c:pt idx="6686">
                  <c:v>6.9960808408996919E-2</c:v>
                </c:pt>
                <c:pt idx="6687">
                  <c:v>5.8226661220276157E-2</c:v>
                </c:pt>
                <c:pt idx="6688">
                  <c:v>5.2507221881056373E-2</c:v>
                </c:pt>
                <c:pt idx="6689">
                  <c:v>5.1793311385059729E-2</c:v>
                </c:pt>
                <c:pt idx="6690">
                  <c:v>5.2262699531448187E-2</c:v>
                </c:pt>
                <c:pt idx="6691">
                  <c:v>5.1500478345203542E-2</c:v>
                </c:pt>
                <c:pt idx="6692">
                  <c:v>5.093273478832127E-2</c:v>
                </c:pt>
                <c:pt idx="6693">
                  <c:v>5.0256270803004516E-2</c:v>
                </c:pt>
                <c:pt idx="6694">
                  <c:v>5.002899746735423E-2</c:v>
                </c:pt>
                <c:pt idx="6695">
                  <c:v>4.9891882913034105E-2</c:v>
                </c:pt>
                <c:pt idx="6696">
                  <c:v>5.3748202370219288E-2</c:v>
                </c:pt>
                <c:pt idx="6697">
                  <c:v>7.8400228818022291E-2</c:v>
                </c:pt>
                <c:pt idx="6698">
                  <c:v>9.6266844205092308E-2</c:v>
                </c:pt>
                <c:pt idx="6699">
                  <c:v>0.10519071788577646</c:v>
                </c:pt>
                <c:pt idx="6700">
                  <c:v>0.10719907843948756</c:v>
                </c:pt>
                <c:pt idx="6701">
                  <c:v>0.10727023328068248</c:v>
                </c:pt>
                <c:pt idx="6702">
                  <c:v>0.10718382465756464</c:v>
                </c:pt>
                <c:pt idx="6703">
                  <c:v>0.1062820018471127</c:v>
                </c:pt>
                <c:pt idx="6704">
                  <c:v>0.10629027386157</c:v>
                </c:pt>
                <c:pt idx="6705">
                  <c:v>0.10625840652145263</c:v>
                </c:pt>
                <c:pt idx="6706">
                  <c:v>0.1050656365917944</c:v>
                </c:pt>
                <c:pt idx="6707">
                  <c:v>0.10508738615722446</c:v>
                </c:pt>
                <c:pt idx="6708">
                  <c:v>0.10529688855796958</c:v>
                </c:pt>
                <c:pt idx="6709">
                  <c:v>0.10576031948198203</c:v>
                </c:pt>
                <c:pt idx="6710">
                  <c:v>0.10709192780197653</c:v>
                </c:pt>
                <c:pt idx="6711">
                  <c:v>0.10765696410301617</c:v>
                </c:pt>
                <c:pt idx="6712">
                  <c:v>0.10816737567759961</c:v>
                </c:pt>
                <c:pt idx="6713">
                  <c:v>0.10943988583858798</c:v>
                </c:pt>
                <c:pt idx="6714">
                  <c:v>0.1128113076414699</c:v>
                </c:pt>
                <c:pt idx="6715">
                  <c:v>0.12839128012800186</c:v>
                </c:pt>
                <c:pt idx="6716">
                  <c:v>0.13759472346405441</c:v>
                </c:pt>
                <c:pt idx="6717">
                  <c:v>0.1389657212840005</c:v>
                </c:pt>
                <c:pt idx="6718">
                  <c:v>0.13854932239681675</c:v>
                </c:pt>
                <c:pt idx="6719">
                  <c:v>0.13681902238728602</c:v>
                </c:pt>
                <c:pt idx="6720">
                  <c:v>0.13607920729389547</c:v>
                </c:pt>
                <c:pt idx="6721">
                  <c:v>0.13755255264629893</c:v>
                </c:pt>
                <c:pt idx="6722">
                  <c:v>0.13932055651638472</c:v>
                </c:pt>
                <c:pt idx="6723">
                  <c:v>0.1420543243551004</c:v>
                </c:pt>
                <c:pt idx="6724">
                  <c:v>0.14500558174167613</c:v>
                </c:pt>
                <c:pt idx="6725">
                  <c:v>0.1450543775007101</c:v>
                </c:pt>
                <c:pt idx="6726">
                  <c:v>0.14560133202779185</c:v>
                </c:pt>
                <c:pt idx="6727">
                  <c:v>0.13675754224285036</c:v>
                </c:pt>
                <c:pt idx="6728">
                  <c:v>0.12597443161619448</c:v>
                </c:pt>
                <c:pt idx="6729">
                  <c:v>0.11809575049075043</c:v>
                </c:pt>
                <c:pt idx="6730">
                  <c:v>0.11435816948160205</c:v>
                </c:pt>
                <c:pt idx="6731">
                  <c:v>0.112901630213059</c:v>
                </c:pt>
                <c:pt idx="6732">
                  <c:v>0.11192551948407785</c:v>
                </c:pt>
                <c:pt idx="6733">
                  <c:v>0.1114416575145414</c:v>
                </c:pt>
                <c:pt idx="6734">
                  <c:v>0.11022006575359961</c:v>
                </c:pt>
                <c:pt idx="6735">
                  <c:v>0.10936638850645787</c:v>
                </c:pt>
                <c:pt idx="6736">
                  <c:v>0.10858092947036956</c:v>
                </c:pt>
                <c:pt idx="6737">
                  <c:v>0.10727710801678862</c:v>
                </c:pt>
                <c:pt idx="6738">
                  <c:v>0.10702978031476933</c:v>
                </c:pt>
                <c:pt idx="6739">
                  <c:v>0.10674875025651365</c:v>
                </c:pt>
                <c:pt idx="6740">
                  <c:v>0.10606405696488858</c:v>
                </c:pt>
                <c:pt idx="6741">
                  <c:v>0.10610776016798332</c:v>
                </c:pt>
                <c:pt idx="6742">
                  <c:v>0.10625962219760701</c:v>
                </c:pt>
                <c:pt idx="6743">
                  <c:v>0.10594898210198289</c:v>
                </c:pt>
                <c:pt idx="6744">
                  <c:v>0.10110590643956362</c:v>
                </c:pt>
                <c:pt idx="6745">
                  <c:v>7.9522733420459152E-2</c:v>
                </c:pt>
                <c:pt idx="6746">
                  <c:v>5.9362163547663188E-2</c:v>
                </c:pt>
                <c:pt idx="6747">
                  <c:v>4.5580685922279318E-2</c:v>
                </c:pt>
                <c:pt idx="6748">
                  <c:v>4.3917522096762737E-2</c:v>
                </c:pt>
                <c:pt idx="6749">
                  <c:v>4.3907979857264412E-2</c:v>
                </c:pt>
                <c:pt idx="6750">
                  <c:v>4.3899494863851987E-2</c:v>
                </c:pt>
                <c:pt idx="6751">
                  <c:v>4.3816068129361951E-2</c:v>
                </c:pt>
                <c:pt idx="6752">
                  <c:v>4.3651541095319081E-2</c:v>
                </c:pt>
                <c:pt idx="6753">
                  <c:v>4.3404166364072863E-2</c:v>
                </c:pt>
                <c:pt idx="6754">
                  <c:v>4.2932816525269958E-2</c:v>
                </c:pt>
                <c:pt idx="6755">
                  <c:v>4.2545143649872101E-2</c:v>
                </c:pt>
                <c:pt idx="6756">
                  <c:v>4.2065898636268931E-2</c:v>
                </c:pt>
                <c:pt idx="6757">
                  <c:v>4.2650545294679376E-2</c:v>
                </c:pt>
                <c:pt idx="6758">
                  <c:v>4.2033718824986563E-2</c:v>
                </c:pt>
                <c:pt idx="6759">
                  <c:v>4.1578500656839344E-2</c:v>
                </c:pt>
                <c:pt idx="6760">
                  <c:v>4.1466781698906503E-2</c:v>
                </c:pt>
                <c:pt idx="6761">
                  <c:v>4.1364298804359351E-2</c:v>
                </c:pt>
                <c:pt idx="6762">
                  <c:v>4.1994778546459041E-2</c:v>
                </c:pt>
                <c:pt idx="6763">
                  <c:v>4.2461816246579208E-2</c:v>
                </c:pt>
                <c:pt idx="6764">
                  <c:v>4.2718613861434968E-2</c:v>
                </c:pt>
                <c:pt idx="6765">
                  <c:v>4.2780502160622735E-2</c:v>
                </c:pt>
                <c:pt idx="6766">
                  <c:v>4.2571996882486127E-2</c:v>
                </c:pt>
                <c:pt idx="6767">
                  <c:v>4.2346908064821692E-2</c:v>
                </c:pt>
                <c:pt idx="6768">
                  <c:v>4.2117001322305087E-2</c:v>
                </c:pt>
                <c:pt idx="6769">
                  <c:v>4.2085937912707976E-2</c:v>
                </c:pt>
                <c:pt idx="6770">
                  <c:v>4.2555877892159963E-2</c:v>
                </c:pt>
                <c:pt idx="6771">
                  <c:v>4.241321888425624E-2</c:v>
                </c:pt>
                <c:pt idx="6772">
                  <c:v>4.226297285391472E-2</c:v>
                </c:pt>
                <c:pt idx="6773">
                  <c:v>4.2002138165726732E-2</c:v>
                </c:pt>
                <c:pt idx="6774">
                  <c:v>4.0298344352685117E-2</c:v>
                </c:pt>
                <c:pt idx="6775">
                  <c:v>2.8409013757093149E-2</c:v>
                </c:pt>
                <c:pt idx="6776">
                  <c:v>1.0617232180214955E-2</c:v>
                </c:pt>
                <c:pt idx="6777">
                  <c:v>5.9801900191408762E-3</c:v>
                </c:pt>
                <c:pt idx="6778">
                  <c:v>3.2479523530476624E-3</c:v>
                </c:pt>
                <c:pt idx="6779">
                  <c:v>2.2767582426992186E-3</c:v>
                </c:pt>
                <c:pt idx="6780">
                  <c:v>2.2920968551109581E-3</c:v>
                </c:pt>
                <c:pt idx="6781">
                  <c:v>2.2676667781136202E-3</c:v>
                </c:pt>
                <c:pt idx="6782">
                  <c:v>2.3270998935624038E-3</c:v>
                </c:pt>
                <c:pt idx="6783">
                  <c:v>2.4220443913320795E-3</c:v>
                </c:pt>
                <c:pt idx="6784">
                  <c:v>3.1897801179187647E-3</c:v>
                </c:pt>
                <c:pt idx="6785">
                  <c:v>3.6965001575525874E-3</c:v>
                </c:pt>
                <c:pt idx="6786">
                  <c:v>4.2125621020627987E-3</c:v>
                </c:pt>
                <c:pt idx="6787">
                  <c:v>-3.2148499969016885E-3</c:v>
                </c:pt>
                <c:pt idx="6788">
                  <c:v>-4.1159468981319496E-3</c:v>
                </c:pt>
                <c:pt idx="6789">
                  <c:v>-3.6791881878589748E-3</c:v>
                </c:pt>
                <c:pt idx="6790">
                  <c:v>-3.5396059343294657E-3</c:v>
                </c:pt>
                <c:pt idx="6791">
                  <c:v>-3.2409599387905746E-3</c:v>
                </c:pt>
                <c:pt idx="6792">
                  <c:v>-3.4369183820738367E-3</c:v>
                </c:pt>
                <c:pt idx="6793">
                  <c:v>-2.5633055918076741E-3</c:v>
                </c:pt>
                <c:pt idx="6794">
                  <c:v>2.595201595539838E-4</c:v>
                </c:pt>
                <c:pt idx="6795">
                  <c:v>4.4342273330861617E-3</c:v>
                </c:pt>
                <c:pt idx="6796">
                  <c:v>6.6328873995308429E-3</c:v>
                </c:pt>
                <c:pt idx="6797">
                  <c:v>7.4454844107312793E-3</c:v>
                </c:pt>
                <c:pt idx="6798">
                  <c:v>7.5835975554728562E-3</c:v>
                </c:pt>
                <c:pt idx="6799">
                  <c:v>7.5715099775536376E-3</c:v>
                </c:pt>
                <c:pt idx="6800">
                  <c:v>6.7502814002088976E-3</c:v>
                </c:pt>
                <c:pt idx="6801">
                  <c:v>6.8274427739290437E-3</c:v>
                </c:pt>
                <c:pt idx="6802">
                  <c:v>1.1857758767204549E-2</c:v>
                </c:pt>
                <c:pt idx="6803">
                  <c:v>2.5702660545028094E-2</c:v>
                </c:pt>
                <c:pt idx="6804">
                  <c:v>2.6563228983897184E-2</c:v>
                </c:pt>
                <c:pt idx="6805">
                  <c:v>2.7101477868548177E-2</c:v>
                </c:pt>
                <c:pt idx="6806">
                  <c:v>2.8090364884948649E-2</c:v>
                </c:pt>
                <c:pt idx="6807">
                  <c:v>2.8202902550579039E-2</c:v>
                </c:pt>
                <c:pt idx="6808">
                  <c:v>2.8169494608001965E-2</c:v>
                </c:pt>
                <c:pt idx="6809">
                  <c:v>2.8077548092835462E-2</c:v>
                </c:pt>
                <c:pt idx="6810">
                  <c:v>3.4756886334117873E-2</c:v>
                </c:pt>
                <c:pt idx="6811">
                  <c:v>3.9585222040666779E-2</c:v>
                </c:pt>
                <c:pt idx="6812">
                  <c:v>3.9542939295672243E-2</c:v>
                </c:pt>
                <c:pt idx="6813">
                  <c:v>3.9539182268544533E-2</c:v>
                </c:pt>
                <c:pt idx="6814">
                  <c:v>3.8852855360177262E-2</c:v>
                </c:pt>
                <c:pt idx="6815">
                  <c:v>3.8354240396327746E-2</c:v>
                </c:pt>
                <c:pt idx="6816">
                  <c:v>3.7768614250666056E-2</c:v>
                </c:pt>
                <c:pt idx="6817">
                  <c:v>3.8250626068876019E-2</c:v>
                </c:pt>
                <c:pt idx="6818">
                  <c:v>3.8377305354334965E-2</c:v>
                </c:pt>
                <c:pt idx="6819">
                  <c:v>3.8674961350098333E-2</c:v>
                </c:pt>
                <c:pt idx="6820">
                  <c:v>4.0011564592985487E-2</c:v>
                </c:pt>
                <c:pt idx="6821">
                  <c:v>4.0708913778019933E-2</c:v>
                </c:pt>
                <c:pt idx="6822">
                  <c:v>4.0351702316974374E-2</c:v>
                </c:pt>
                <c:pt idx="6823">
                  <c:v>3.8553826438644058E-2</c:v>
                </c:pt>
                <c:pt idx="6824">
                  <c:v>3.8166863013252554E-2</c:v>
                </c:pt>
                <c:pt idx="6825">
                  <c:v>3.7657307752854752E-2</c:v>
                </c:pt>
                <c:pt idx="6826">
                  <c:v>3.7625859538539176E-2</c:v>
                </c:pt>
                <c:pt idx="6827">
                  <c:v>3.7635289845354233E-2</c:v>
                </c:pt>
                <c:pt idx="6828">
                  <c:v>3.7761167257510761E-2</c:v>
                </c:pt>
                <c:pt idx="6829">
                  <c:v>3.7954215759705007E-2</c:v>
                </c:pt>
                <c:pt idx="6830">
                  <c:v>3.7936473351991989E-2</c:v>
                </c:pt>
                <c:pt idx="6831">
                  <c:v>3.7803723296912166E-2</c:v>
                </c:pt>
                <c:pt idx="6832">
                  <c:v>3.5937903424518677E-2</c:v>
                </c:pt>
                <c:pt idx="6833">
                  <c:v>2.5902277737012022E-2</c:v>
                </c:pt>
                <c:pt idx="6834">
                  <c:v>2.5419113611039289E-2</c:v>
                </c:pt>
                <c:pt idx="6835">
                  <c:v>2.528141795320684E-2</c:v>
                </c:pt>
                <c:pt idx="6836">
                  <c:v>2.4286214551457359E-2</c:v>
                </c:pt>
                <c:pt idx="6837">
                  <c:v>2.4232260789142621E-2</c:v>
                </c:pt>
                <c:pt idx="6838">
                  <c:v>2.4122422155210529E-2</c:v>
                </c:pt>
                <c:pt idx="6839">
                  <c:v>2.4696088405585466E-2</c:v>
                </c:pt>
                <c:pt idx="6840">
                  <c:v>1.7928695566521914E-2</c:v>
                </c:pt>
                <c:pt idx="6841">
                  <c:v>7.3719545306880491E-3</c:v>
                </c:pt>
                <c:pt idx="6842">
                  <c:v>6.2962389860113412E-3</c:v>
                </c:pt>
                <c:pt idx="6843">
                  <c:v>6.6947873203653148E-3</c:v>
                </c:pt>
                <c:pt idx="6844">
                  <c:v>7.2746824461498924E-3</c:v>
                </c:pt>
                <c:pt idx="6845">
                  <c:v>8.148931067680585E-3</c:v>
                </c:pt>
                <c:pt idx="6846">
                  <c:v>7.7461341087799226E-3</c:v>
                </c:pt>
                <c:pt idx="6847">
                  <c:v>8.2079069603200466E-3</c:v>
                </c:pt>
                <c:pt idx="6848">
                  <c:v>9.419978080943114E-3</c:v>
                </c:pt>
                <c:pt idx="6849">
                  <c:v>1.0742613555689069E-2</c:v>
                </c:pt>
                <c:pt idx="6850">
                  <c:v>1.1964339791400866E-2</c:v>
                </c:pt>
                <c:pt idx="6851">
                  <c:v>1.2172394463257829E-2</c:v>
                </c:pt>
                <c:pt idx="6852">
                  <c:v>1.2205179219219797E-2</c:v>
                </c:pt>
                <c:pt idx="6853">
                  <c:v>1.2221467738193536E-2</c:v>
                </c:pt>
                <c:pt idx="6854">
                  <c:v>1.2186558137869459E-2</c:v>
                </c:pt>
                <c:pt idx="6855">
                  <c:v>1.2196234798234905E-2</c:v>
                </c:pt>
                <c:pt idx="6856">
                  <c:v>1.2474208678925555E-2</c:v>
                </c:pt>
                <c:pt idx="6857">
                  <c:v>1.3273552229688398E-2</c:v>
                </c:pt>
                <c:pt idx="6858">
                  <c:v>1.4144316189616646E-2</c:v>
                </c:pt>
                <c:pt idx="6859">
                  <c:v>1.5370896312477112E-2</c:v>
                </c:pt>
                <c:pt idx="6860">
                  <c:v>1.5770425727762966E-2</c:v>
                </c:pt>
                <c:pt idx="6861">
                  <c:v>1.6044117219344508E-2</c:v>
                </c:pt>
                <c:pt idx="6862">
                  <c:v>1.6417308754947825E-2</c:v>
                </c:pt>
                <c:pt idx="6863">
                  <c:v>1.6726404273290439E-2</c:v>
                </c:pt>
                <c:pt idx="6864">
                  <c:v>1.6952845872232006E-2</c:v>
                </c:pt>
                <c:pt idx="6865">
                  <c:v>1.6536722533429318E-2</c:v>
                </c:pt>
                <c:pt idx="6866">
                  <c:v>1.6524089497670529E-2</c:v>
                </c:pt>
                <c:pt idx="6867">
                  <c:v>1.6400678849111706E-2</c:v>
                </c:pt>
                <c:pt idx="6868">
                  <c:v>1.6426912886220505E-2</c:v>
                </c:pt>
                <c:pt idx="6869">
                  <c:v>1.385923691018851E-2</c:v>
                </c:pt>
                <c:pt idx="6870">
                  <c:v>4.9468869552856927E-3</c:v>
                </c:pt>
                <c:pt idx="6871">
                  <c:v>3.0882290128058081E-3</c:v>
                </c:pt>
                <c:pt idx="6872">
                  <c:v>7.3680221841382516E-4</c:v>
                </c:pt>
                <c:pt idx="6873">
                  <c:v>-7.9794041860801329E-4</c:v>
                </c:pt>
                <c:pt idx="6874">
                  <c:v>9.4092434499022069E-3</c:v>
                </c:pt>
                <c:pt idx="6875">
                  <c:v>2.735453758536846E-2</c:v>
                </c:pt>
                <c:pt idx="6876">
                  <c:v>6.4265432926871049E-2</c:v>
                </c:pt>
                <c:pt idx="6877">
                  <c:v>8.101531628378747E-2</c:v>
                </c:pt>
                <c:pt idx="6878">
                  <c:v>8.1131998748443096E-2</c:v>
                </c:pt>
                <c:pt idx="6879">
                  <c:v>8.5918372034263085E-2</c:v>
                </c:pt>
                <c:pt idx="6880">
                  <c:v>8.6418310240759535E-2</c:v>
                </c:pt>
                <c:pt idx="6881">
                  <c:v>8.5357117162718654E-2</c:v>
                </c:pt>
                <c:pt idx="6882">
                  <c:v>8.4495497870914038E-2</c:v>
                </c:pt>
                <c:pt idx="6883">
                  <c:v>8.4086421655005378E-2</c:v>
                </c:pt>
                <c:pt idx="6884">
                  <c:v>8.4485228503545562E-2</c:v>
                </c:pt>
                <c:pt idx="6885">
                  <c:v>8.4435659512793221E-2</c:v>
                </c:pt>
                <c:pt idx="6886">
                  <c:v>8.4810406150850767E-2</c:v>
                </c:pt>
                <c:pt idx="6887">
                  <c:v>8.4977579487281199E-2</c:v>
                </c:pt>
                <c:pt idx="6888">
                  <c:v>8.5543008528560643E-2</c:v>
                </c:pt>
                <c:pt idx="6889">
                  <c:v>8.5686090615779753E-2</c:v>
                </c:pt>
                <c:pt idx="6890">
                  <c:v>8.541862875342307E-2</c:v>
                </c:pt>
                <c:pt idx="6891">
                  <c:v>8.5135319593764539E-2</c:v>
                </c:pt>
                <c:pt idx="6892">
                  <c:v>8.4950273601731074E-2</c:v>
                </c:pt>
                <c:pt idx="6893">
                  <c:v>8.4907366433404088E-2</c:v>
                </c:pt>
                <c:pt idx="6894">
                  <c:v>8.4783739442283151E-2</c:v>
                </c:pt>
                <c:pt idx="6895">
                  <c:v>8.5128385463524997E-2</c:v>
                </c:pt>
                <c:pt idx="6896">
                  <c:v>8.5528720941625197E-2</c:v>
                </c:pt>
                <c:pt idx="6897">
                  <c:v>8.583901535033743E-2</c:v>
                </c:pt>
                <c:pt idx="6898">
                  <c:v>8.6146063735303299E-2</c:v>
                </c:pt>
                <c:pt idx="6899">
                  <c:v>8.6705074497487281E-2</c:v>
                </c:pt>
                <c:pt idx="6900">
                  <c:v>8.7303748837750786E-2</c:v>
                </c:pt>
                <c:pt idx="6901">
                  <c:v>8.8738412989994075E-2</c:v>
                </c:pt>
                <c:pt idx="6902">
                  <c:v>8.9346151841225491E-2</c:v>
                </c:pt>
                <c:pt idx="6903">
                  <c:v>8.9556342970415481E-2</c:v>
                </c:pt>
                <c:pt idx="6904">
                  <c:v>9.4935556311854297E-2</c:v>
                </c:pt>
                <c:pt idx="6905">
                  <c:v>9.5953193384672036E-2</c:v>
                </c:pt>
                <c:pt idx="6906">
                  <c:v>8.0253232707312078E-2</c:v>
                </c:pt>
                <c:pt idx="6907">
                  <c:v>6.6362663605083722E-2</c:v>
                </c:pt>
                <c:pt idx="6908">
                  <c:v>6.6281274154213005E-2</c:v>
                </c:pt>
                <c:pt idx="6909">
                  <c:v>5.9841383300554718E-2</c:v>
                </c:pt>
                <c:pt idx="6910">
                  <c:v>5.6792471011005805E-2</c:v>
                </c:pt>
                <c:pt idx="6911">
                  <c:v>5.9289485285948393E-2</c:v>
                </c:pt>
                <c:pt idx="6912">
                  <c:v>5.9380376952255245E-2</c:v>
                </c:pt>
                <c:pt idx="6913">
                  <c:v>5.923162553136134E-2</c:v>
                </c:pt>
                <c:pt idx="6914">
                  <c:v>5.9231342679603713E-2</c:v>
                </c:pt>
                <c:pt idx="6915">
                  <c:v>5.8935504340068681E-2</c:v>
                </c:pt>
                <c:pt idx="6916">
                  <c:v>5.8935211610245064E-2</c:v>
                </c:pt>
                <c:pt idx="6917">
                  <c:v>5.8595038532785415E-2</c:v>
                </c:pt>
                <c:pt idx="6918">
                  <c:v>5.8056009821075949E-2</c:v>
                </c:pt>
                <c:pt idx="6919">
                  <c:v>5.9224007550354618E-2</c:v>
                </c:pt>
                <c:pt idx="6920">
                  <c:v>6.0453571562861803E-2</c:v>
                </c:pt>
                <c:pt idx="6921">
                  <c:v>6.1970032031301574E-2</c:v>
                </c:pt>
                <c:pt idx="6922">
                  <c:v>6.2974471984980768E-2</c:v>
                </c:pt>
                <c:pt idx="6923">
                  <c:v>6.4192234461551409E-2</c:v>
                </c:pt>
                <c:pt idx="6924">
                  <c:v>6.6253835093721333E-2</c:v>
                </c:pt>
                <c:pt idx="6925">
                  <c:v>6.6915343752672871E-2</c:v>
                </c:pt>
                <c:pt idx="6926">
                  <c:v>6.6794850358944197E-2</c:v>
                </c:pt>
                <c:pt idx="6927">
                  <c:v>6.6950575893022141E-2</c:v>
                </c:pt>
                <c:pt idx="6928">
                  <c:v>6.7256570521377151E-2</c:v>
                </c:pt>
                <c:pt idx="6929">
                  <c:v>6.779241429005825E-2</c:v>
                </c:pt>
                <c:pt idx="6930">
                  <c:v>6.7285599736706406E-2</c:v>
                </c:pt>
                <c:pt idx="6931">
                  <c:v>6.1127687428413874E-2</c:v>
                </c:pt>
                <c:pt idx="6932">
                  <c:v>5.8780499412005083E-2</c:v>
                </c:pt>
                <c:pt idx="6933">
                  <c:v>5.5004961434011172E-2</c:v>
                </c:pt>
                <c:pt idx="6934">
                  <c:v>3.9239399595628513E-2</c:v>
                </c:pt>
                <c:pt idx="6935">
                  <c:v>2.511917441609305E-2</c:v>
                </c:pt>
                <c:pt idx="6936">
                  <c:v>2.3803571323355852E-2</c:v>
                </c:pt>
                <c:pt idx="6937">
                  <c:v>2.2072668973681622E-2</c:v>
                </c:pt>
                <c:pt idx="6938">
                  <c:v>2.1145002609644841E-2</c:v>
                </c:pt>
                <c:pt idx="6939">
                  <c:v>2.0340120566258488E-2</c:v>
                </c:pt>
                <c:pt idx="6940">
                  <c:v>2.0293161275527247E-2</c:v>
                </c:pt>
                <c:pt idx="6941">
                  <c:v>1.071596720662087E-2</c:v>
                </c:pt>
                <c:pt idx="6942">
                  <c:v>8.6247112213720667E-3</c:v>
                </c:pt>
                <c:pt idx="6943">
                  <c:v>7.8976565546507518E-3</c:v>
                </c:pt>
                <c:pt idx="6944">
                  <c:v>7.5803653486036272E-3</c:v>
                </c:pt>
                <c:pt idx="6945">
                  <c:v>7.8044552710619386E-3</c:v>
                </c:pt>
                <c:pt idx="6946">
                  <c:v>7.6338950942653507E-3</c:v>
                </c:pt>
                <c:pt idx="6947">
                  <c:v>8.0445060231649074E-3</c:v>
                </c:pt>
                <c:pt idx="6948">
                  <c:v>8.63543203458398E-3</c:v>
                </c:pt>
                <c:pt idx="6949">
                  <c:v>8.9927004345521713E-3</c:v>
                </c:pt>
                <c:pt idx="6950">
                  <c:v>9.5331095132640299E-3</c:v>
                </c:pt>
                <c:pt idx="6951">
                  <c:v>9.9442640479755207E-3</c:v>
                </c:pt>
                <c:pt idx="6952">
                  <c:v>9.8620455529618133E-3</c:v>
                </c:pt>
                <c:pt idx="6953">
                  <c:v>1.0400176033356258E-2</c:v>
                </c:pt>
                <c:pt idx="6954">
                  <c:v>8.5596637133436831E-3</c:v>
                </c:pt>
                <c:pt idx="6955">
                  <c:v>5.729636864771414E-3</c:v>
                </c:pt>
                <c:pt idx="6956">
                  <c:v>6.3245784283622077E-3</c:v>
                </c:pt>
                <c:pt idx="6957">
                  <c:v>7.4696210894429332E-3</c:v>
                </c:pt>
                <c:pt idx="6958">
                  <c:v>9.0659766308192544E-3</c:v>
                </c:pt>
                <c:pt idx="6959">
                  <c:v>1.0366704517209963E-2</c:v>
                </c:pt>
                <c:pt idx="6960">
                  <c:v>1.2432850561771867E-2</c:v>
                </c:pt>
                <c:pt idx="6961">
                  <c:v>1.2304035111336918E-2</c:v>
                </c:pt>
                <c:pt idx="6962">
                  <c:v>1.2207423120633569E-2</c:v>
                </c:pt>
                <c:pt idx="6963">
                  <c:v>1.2347194751277754E-2</c:v>
                </c:pt>
                <c:pt idx="6964">
                  <c:v>1.2325636850082252E-2</c:v>
                </c:pt>
                <c:pt idx="6965">
                  <c:v>1.2064456668113937E-2</c:v>
                </c:pt>
                <c:pt idx="6966">
                  <c:v>1.2075968888806007E-2</c:v>
                </c:pt>
                <c:pt idx="6967">
                  <c:v>1.2067659823111775E-2</c:v>
                </c:pt>
                <c:pt idx="6968">
                  <c:v>1.2117188967366414E-2</c:v>
                </c:pt>
                <c:pt idx="6969">
                  <c:v>1.2400937849865443E-2</c:v>
                </c:pt>
                <c:pt idx="6970">
                  <c:v>9.011392657256638E-3</c:v>
                </c:pt>
                <c:pt idx="6971">
                  <c:v>9.1875929594613971E-3</c:v>
                </c:pt>
                <c:pt idx="6972">
                  <c:v>9.398588628353452E-3</c:v>
                </c:pt>
                <c:pt idx="6973">
                  <c:v>9.5133458405765869E-3</c:v>
                </c:pt>
                <c:pt idx="6974">
                  <c:v>9.7160998292939778E-3</c:v>
                </c:pt>
                <c:pt idx="6975">
                  <c:v>9.9213774834291842E-3</c:v>
                </c:pt>
                <c:pt idx="6976">
                  <c:v>1.0224789333529631E-2</c:v>
                </c:pt>
                <c:pt idx="6977">
                  <c:v>1.0556451762379047E-2</c:v>
                </c:pt>
                <c:pt idx="6978">
                  <c:v>1.0420678182743472E-2</c:v>
                </c:pt>
                <c:pt idx="6979">
                  <c:v>1.0683782138296993E-2</c:v>
                </c:pt>
                <c:pt idx="6980">
                  <c:v>1.1088633573359328E-2</c:v>
                </c:pt>
                <c:pt idx="6981">
                  <c:v>1.2690054238620374E-2</c:v>
                </c:pt>
                <c:pt idx="6982">
                  <c:v>1.509632988888971E-2</c:v>
                </c:pt>
                <c:pt idx="6983">
                  <c:v>1.6348520458977965E-2</c:v>
                </c:pt>
                <c:pt idx="6984">
                  <c:v>1.9745991941546165E-2</c:v>
                </c:pt>
                <c:pt idx="6985">
                  <c:v>1.9757264190838279E-2</c:v>
                </c:pt>
                <c:pt idx="6986">
                  <c:v>1.9597840069552824E-2</c:v>
                </c:pt>
                <c:pt idx="6987">
                  <c:v>2.0484925678127097E-2</c:v>
                </c:pt>
                <c:pt idx="6988">
                  <c:v>1.984417911940637E-2</c:v>
                </c:pt>
                <c:pt idx="6989">
                  <c:v>2.0705420833110909E-2</c:v>
                </c:pt>
                <c:pt idx="6990">
                  <c:v>2.0671587298638744E-2</c:v>
                </c:pt>
                <c:pt idx="6991">
                  <c:v>2.2295151971082127E-2</c:v>
                </c:pt>
                <c:pt idx="6992">
                  <c:v>2.4006256639324035E-2</c:v>
                </c:pt>
                <c:pt idx="6993">
                  <c:v>2.7696122673530898E-2</c:v>
                </c:pt>
                <c:pt idx="6994">
                  <c:v>1.1387125291681302E-2</c:v>
                </c:pt>
                <c:pt idx="6995">
                  <c:v>4.642935885089583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289-4CFA-98A0-9C83913A5B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16240703"/>
        <c:axId val="1316242783"/>
      </c:lineChart>
      <c:catAx>
        <c:axId val="1316240703"/>
        <c:scaling>
          <c:orientation val="minMax"/>
        </c:scaling>
        <c:delete val="1"/>
        <c:axPos val="b"/>
        <c:majorTickMark val="none"/>
        <c:minorTickMark val="none"/>
        <c:tickLblPos val="nextTo"/>
        <c:crossAx val="1316242783"/>
        <c:crosses val="autoZero"/>
        <c:auto val="1"/>
        <c:lblAlgn val="ctr"/>
        <c:lblOffset val="100"/>
        <c:noMultiLvlLbl val="0"/>
      </c:catAx>
      <c:valAx>
        <c:axId val="1316242783"/>
        <c:scaling>
          <c:orientation val="minMax"/>
        </c:scaling>
        <c:delete val="0"/>
        <c:axPos val="l"/>
        <c:numFmt formatCode="0.00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62407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408</cdr:x>
      <cdr:y>0.06267</cdr:y>
    </cdr:from>
    <cdr:to>
      <cdr:x>0.75376</cdr:x>
      <cdr:y>0.41679</cdr:y>
    </cdr:to>
    <cdr:sp macro="" textlink="">
      <cdr:nvSpPr>
        <cdr:cNvPr id="3" name="Rectangle 2"/>
        <cdr:cNvSpPr/>
      </cdr:nvSpPr>
      <cdr:spPr>
        <a:xfrm xmlns:a="http://schemas.openxmlformats.org/drawingml/2006/main">
          <a:off x="606993" y="359487"/>
          <a:ext cx="3403587" cy="20313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</a:defPPr>
          <a:lvl1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1pPr>
          <a:lvl2pPr marR="0" lvl="1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2pPr>
          <a:lvl3pPr marR="0" lvl="2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3pPr>
          <a:lvl4pPr marR="0" lvl="3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4pPr>
          <a:lvl5pPr marR="0" lvl="4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5pPr>
          <a:lvl6pPr marR="0" lvl="5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6pPr>
          <a:lvl7pPr marR="0" lvl="6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7pPr>
          <a:lvl8pPr marR="0" lvl="7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8pPr>
          <a:lvl9pPr marR="0" lvl="8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9pPr>
        </a:lstStyle>
        <a:p xmlns:a="http://schemas.openxmlformats.org/drawingml/2006/main">
          <a:r>
            <a:rPr lang="en-US" dirty="0">
              <a:latin typeface="+mn-lt"/>
            </a:rPr>
            <a:t>y(pump failure) = </a:t>
          </a:r>
          <a:endParaRPr lang="en-US" dirty="0" smtClean="0">
            <a:latin typeface="+mn-lt"/>
          </a:endParaRPr>
        </a:p>
        <a:p xmlns:a="http://schemas.openxmlformats.org/drawingml/2006/main">
          <a:r>
            <a:rPr lang="en-US" dirty="0" smtClean="0">
              <a:latin typeface="+mn-lt"/>
            </a:rPr>
            <a:t> </a:t>
          </a:r>
          <a:r>
            <a:rPr lang="en-US" dirty="0">
              <a:latin typeface="+mn-lt"/>
            </a:rPr>
            <a:t>-0.0015 * </a:t>
          </a:r>
          <a:r>
            <a:rPr lang="en-US" dirty="0" smtClean="0">
              <a:latin typeface="+mn-lt"/>
            </a:rPr>
            <a:t>FLOW_METER_1 </a:t>
          </a:r>
          <a:endParaRPr lang="en-US" dirty="0" smtClean="0">
            <a:latin typeface="+mn-lt"/>
          </a:endParaRPr>
        </a:p>
        <a:p xmlns:a="http://schemas.openxmlformats.org/drawingml/2006/main">
          <a:r>
            <a:rPr lang="en-US" dirty="0" smtClean="0">
              <a:latin typeface="+mn-lt"/>
            </a:rPr>
            <a:t>+ </a:t>
          </a:r>
          <a:r>
            <a:rPr lang="en-US" dirty="0">
              <a:latin typeface="+mn-lt"/>
            </a:rPr>
            <a:t>0.0029 * </a:t>
          </a:r>
          <a:r>
            <a:rPr lang="en-US" dirty="0" smtClean="0">
              <a:latin typeface="+mn-lt"/>
            </a:rPr>
            <a:t>FLOW_METER_2 </a:t>
          </a:r>
          <a:endParaRPr lang="en-US" dirty="0" smtClean="0">
            <a:latin typeface="+mn-lt"/>
          </a:endParaRPr>
        </a:p>
        <a:p xmlns:a="http://schemas.openxmlformats.org/drawingml/2006/main">
          <a:r>
            <a:rPr lang="en-US" dirty="0" smtClean="0">
              <a:latin typeface="+mn-lt"/>
            </a:rPr>
            <a:t>+ </a:t>
          </a:r>
          <a:r>
            <a:rPr lang="en-US" dirty="0">
              <a:latin typeface="+mn-lt"/>
            </a:rPr>
            <a:t>0.0046 * ROTATIONAL_PUMP_RPM </a:t>
          </a:r>
          <a:endParaRPr lang="en-US" dirty="0" smtClean="0">
            <a:latin typeface="+mn-lt"/>
          </a:endParaRPr>
        </a:p>
        <a:p xmlns:a="http://schemas.openxmlformats.org/drawingml/2006/main">
          <a:r>
            <a:rPr lang="en-US" dirty="0" smtClean="0">
              <a:latin typeface="+mn-lt"/>
            </a:rPr>
            <a:t>+ </a:t>
          </a:r>
          <a:r>
            <a:rPr lang="en-US" dirty="0">
              <a:latin typeface="+mn-lt"/>
            </a:rPr>
            <a:t>0.0006 * </a:t>
          </a:r>
          <a:r>
            <a:rPr lang="en-US" dirty="0" smtClean="0">
              <a:latin typeface="+mn-lt"/>
            </a:rPr>
            <a:t>PUMP_TORQUE </a:t>
          </a:r>
          <a:endParaRPr lang="en-US" dirty="0" smtClean="0">
            <a:latin typeface="+mn-lt"/>
          </a:endParaRPr>
        </a:p>
        <a:p xmlns:a="http://schemas.openxmlformats.org/drawingml/2006/main">
          <a:r>
            <a:rPr lang="en-US" dirty="0" smtClean="0">
              <a:latin typeface="+mn-lt"/>
            </a:rPr>
            <a:t>+ </a:t>
          </a:r>
          <a:r>
            <a:rPr lang="en-US" dirty="0">
              <a:latin typeface="+mn-lt"/>
            </a:rPr>
            <a:t>0.0016 * MAXIMUM_DAILY_PUMP_TORQUE </a:t>
          </a:r>
          <a:endParaRPr lang="en-US" dirty="0" smtClean="0">
            <a:latin typeface="+mn-lt"/>
          </a:endParaRPr>
        </a:p>
        <a:p xmlns:a="http://schemas.openxmlformats.org/drawingml/2006/main">
          <a:r>
            <a:rPr lang="en-US" dirty="0" smtClean="0">
              <a:latin typeface="+mn-lt"/>
            </a:rPr>
            <a:t>+ </a:t>
          </a:r>
          <a:r>
            <a:rPr lang="en-US" dirty="0">
              <a:latin typeface="+mn-lt"/>
            </a:rPr>
            <a:t>0.0005 * </a:t>
          </a:r>
          <a:r>
            <a:rPr lang="en-US" dirty="0" smtClean="0">
              <a:latin typeface="+mn-lt"/>
            </a:rPr>
            <a:t>TUBE_PRESSURE </a:t>
          </a:r>
          <a:endParaRPr lang="en-US" dirty="0" smtClean="0">
            <a:latin typeface="+mn-lt"/>
          </a:endParaRPr>
        </a:p>
        <a:p xmlns:a="http://schemas.openxmlformats.org/drawingml/2006/main">
          <a:r>
            <a:rPr lang="en-US" dirty="0" smtClean="0">
              <a:latin typeface="+mn-lt"/>
            </a:rPr>
            <a:t>+ </a:t>
          </a:r>
          <a:r>
            <a:rPr lang="en-US" dirty="0">
              <a:latin typeface="+mn-lt"/>
            </a:rPr>
            <a:t>-0.013 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0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7" name="Google Shape;67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68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2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8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8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8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8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8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9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9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9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1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3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7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7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7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7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0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7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0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0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764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0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/>
              <a:t>Southern Water Corp – Technical Presentation</a:t>
            </a:r>
            <a:endParaRPr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</a:t>
            </a:r>
            <a:r>
              <a:rPr lang="en-AU" sz="1400" b="0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05/25/2020 </a:t>
            </a:r>
            <a:endParaRPr dirty="0"/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</a:t>
            </a:r>
            <a:r>
              <a:rPr lang="en-AU" sz="1400" b="0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en-AU" sz="1400" b="0" i="0" u="none" strike="noStrike" cap="none" dirty="0" err="1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hit</a:t>
            </a:r>
            <a:r>
              <a:rPr lang="en-AU" sz="1400" b="0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Bansal</a:t>
            </a: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dirty="0"/>
              <a:t>Southern Water Corp management wants to control operational costs and prevent untimely asset failure which will lead to loss of revenues</a:t>
            </a:r>
            <a:endParaRPr lang="en-US" sz="2000" dirty="0">
              <a:solidFill>
                <a:srgbClr val="000000"/>
              </a:solidFill>
            </a:endParaRPr>
          </a:p>
        </p:txBody>
      </p:sp>
      <p:grpSp>
        <p:nvGrpSpPr>
          <p:cNvPr id="49" name="Google Shape;49;p3"/>
          <p:cNvGrpSpPr/>
          <p:nvPr/>
        </p:nvGrpSpPr>
        <p:grpSpPr>
          <a:xfrm>
            <a:off x="695481" y="1384768"/>
            <a:ext cx="7341871" cy="1462345"/>
            <a:chOff x="709649" y="1412776"/>
            <a:chExt cx="7491440" cy="1492136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952547" y="2069732"/>
              <a:ext cx="3528392" cy="648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Problem 1</a:t>
              </a:r>
              <a:endParaRPr dirty="0"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 smtClean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Increased demand </a:t>
              </a: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leading to increased pump </a:t>
              </a:r>
              <a:r>
                <a:rPr lang="en-AU" sz="1176" b="1" dirty="0" smtClean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wear and operational costs</a:t>
              </a:r>
              <a:endParaRPr dirty="0"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 dirty="0"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solidFill>
              <a:srgbClr val="F6A40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4627557" y="1838066"/>
              <a:ext cx="3528392" cy="101733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 smtClean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To meet increased demand of water supply plants are running harder due to which pump failure events may increase which leads increase in operational cost and ultimately revenue loss.</a:t>
              </a:r>
              <a:endParaRPr dirty="0"/>
            </a:p>
          </p:txBody>
        </p:sp>
      </p:grpSp>
      <p:sp>
        <p:nvSpPr>
          <p:cNvPr id="55" name="Google Shape;55;p3"/>
          <p:cNvSpPr/>
          <p:nvPr/>
        </p:nvSpPr>
        <p:spPr>
          <a:xfrm>
            <a:off x="873978" y="3175260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3"/>
          <p:cNvSpPr/>
          <p:nvPr/>
        </p:nvSpPr>
        <p:spPr>
          <a:xfrm>
            <a:off x="957296" y="3541317"/>
            <a:ext cx="3457947" cy="642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Problem </a:t>
            </a:r>
            <a:r>
              <a:rPr lang="en-AU" sz="1176" b="1" dirty="0" smtClean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2</a:t>
            </a:r>
          </a:p>
          <a:p>
            <a:pPr lvl="0" algn="ctr"/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</a:rPr>
              <a:t>Understand what variables may drive an asset failure</a:t>
            </a:r>
            <a:endParaRPr sz="1176" b="1" dirty="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7" name="Google Shape;57;p3"/>
          <p:cNvSpPr/>
          <p:nvPr/>
        </p:nvSpPr>
        <p:spPr>
          <a:xfrm>
            <a:off x="703950" y="3078456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58" name="Google Shape;58;p3"/>
          <p:cNvSpPr/>
          <p:nvPr/>
        </p:nvSpPr>
        <p:spPr>
          <a:xfrm>
            <a:off x="4456128" y="3175260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"/>
          <p:cNvSpPr/>
          <p:nvPr/>
        </p:nvSpPr>
        <p:spPr>
          <a:xfrm>
            <a:off x="4535167" y="3501878"/>
            <a:ext cx="3457947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</a:rPr>
              <a:t>Identify a list of variables that may provide an indication of when the pump may be failing</a:t>
            </a:r>
          </a:p>
        </p:txBody>
      </p:sp>
      <p:sp>
        <p:nvSpPr>
          <p:cNvPr id="60" name="Google Shape;60;p3"/>
          <p:cNvSpPr/>
          <p:nvPr/>
        </p:nvSpPr>
        <p:spPr>
          <a:xfrm>
            <a:off x="890961" y="4849573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3"/>
          <p:cNvSpPr/>
          <p:nvPr/>
        </p:nvSpPr>
        <p:spPr>
          <a:xfrm>
            <a:off x="720933" y="4741826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62" name="Google Shape;62;p3"/>
          <p:cNvSpPr/>
          <p:nvPr/>
        </p:nvSpPr>
        <p:spPr>
          <a:xfrm>
            <a:off x="4473111" y="4849573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64;p3"/>
          <p:cNvSpPr/>
          <p:nvPr/>
        </p:nvSpPr>
        <p:spPr>
          <a:xfrm>
            <a:off x="4547915" y="5157434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</a:rPr>
              <a:t>Create </a:t>
            </a:r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</a:rPr>
              <a:t>an equation that </a:t>
            </a:r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</a:rPr>
              <a:t>provides a </a:t>
            </a:r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</a:rPr>
              <a:t>model predictor </a:t>
            </a:r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</a:rPr>
              <a:t>model and numerical </a:t>
            </a:r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</a:rPr>
              <a:t>indicator when the Pump </a:t>
            </a:r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</a:rPr>
              <a:t>is failing</a:t>
            </a:r>
            <a:endParaRPr sz="1176" b="1" dirty="0">
              <a:solidFill>
                <a:srgbClr val="002060"/>
              </a:solidFill>
              <a:latin typeface="Quattrocento Sans"/>
              <a:ea typeface="Quattrocento Sans"/>
              <a:cs typeface="Quattrocento Sans"/>
            </a:endParaRPr>
          </a:p>
        </p:txBody>
      </p:sp>
      <p:sp>
        <p:nvSpPr>
          <p:cNvPr id="19" name="Google Shape;56;p3"/>
          <p:cNvSpPr/>
          <p:nvPr/>
        </p:nvSpPr>
        <p:spPr>
          <a:xfrm>
            <a:off x="986864" y="5249561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Problem 3</a:t>
            </a:r>
            <a:endParaRPr lang="en-AU" sz="1176" b="1" dirty="0" smtClean="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76" b="1" dirty="0" smtClean="0">
                <a:solidFill>
                  <a:srgbClr val="002060"/>
                </a:solidFill>
                <a:latin typeface="Quattrocento Sans"/>
                <a:sym typeface="Quattrocento Sans"/>
              </a:rPr>
              <a:t>Create a multivariate regression  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76" b="1" dirty="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600" dirty="0"/>
              <a:t>By the multivariate equation it is identified that Pump failure is mostly </a:t>
            </a:r>
            <a:r>
              <a:rPr lang="en-US" sz="1600" dirty="0" smtClean="0"/>
              <a:t>related </a:t>
            </a:r>
            <a:r>
              <a:rPr lang="en-US" sz="1600" dirty="0"/>
              <a:t>with </a:t>
            </a:r>
            <a:r>
              <a:rPr lang="en-US" sz="1600" dirty="0" smtClean="0"/>
              <a:t>the RPM followed by Flow Meter 2.</a:t>
            </a:r>
            <a:endParaRPr lang="en-US" sz="1600" dirty="0"/>
          </a:p>
        </p:txBody>
      </p:sp>
      <p:sp>
        <p:nvSpPr>
          <p:cNvPr id="71" name="Google Shape;71;p2"/>
          <p:cNvSpPr/>
          <p:nvPr/>
        </p:nvSpPr>
        <p:spPr>
          <a:xfrm>
            <a:off x="539451" y="6485919"/>
            <a:ext cx="245291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AU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Statistical Records</a:t>
            </a:r>
            <a:endParaRPr/>
          </a:p>
        </p:txBody>
      </p:sp>
      <p:sp>
        <p:nvSpPr>
          <p:cNvPr id="72" name="Google Shape;72;p2"/>
          <p:cNvSpPr txBox="1"/>
          <p:nvPr/>
        </p:nvSpPr>
        <p:spPr>
          <a:xfrm>
            <a:off x="5553081" y="90374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sp>
        <p:nvSpPr>
          <p:cNvPr id="73" name="Google Shape;73;p2"/>
          <p:cNvSpPr txBox="1"/>
          <p:nvPr/>
        </p:nvSpPr>
        <p:spPr>
          <a:xfrm>
            <a:off x="5464366" y="1403666"/>
            <a:ext cx="3497072" cy="2246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 Squared value: </a:t>
            </a:r>
            <a:r>
              <a:rPr lang="en-US" sz="1400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Value of Coefficient of determination is 53.65% means 53.65% of movements of pump failure can be explained by given variables. 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>
              <a:solidFill>
                <a:schemeClr val="dk1"/>
              </a:solidFill>
            </a:endParaRPr>
          </a:p>
          <a:p>
            <a:pPr lvl="0"/>
            <a:r>
              <a:rPr lang="en-US" b="1" dirty="0"/>
              <a:t>T</a:t>
            </a:r>
            <a:r>
              <a:rPr lang="en-US" b="1" dirty="0" smtClean="0"/>
              <a:t>-value</a:t>
            </a:r>
            <a:r>
              <a:rPr lang="en-US" b="1" dirty="0"/>
              <a:t>: </a:t>
            </a:r>
            <a:r>
              <a:rPr lang="en-US" dirty="0">
                <a:solidFill>
                  <a:schemeClr val="dk1"/>
                </a:solidFill>
              </a:rPr>
              <a:t>Except for Flow Meter 1 all other coefficients are significantly above zero. </a:t>
            </a:r>
          </a:p>
          <a:p>
            <a:pPr lvl="0"/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r>
              <a:rPr lang="en-AU" b="1" dirty="0">
                <a:solidFill>
                  <a:schemeClr val="dk1"/>
                </a:solidFill>
              </a:rPr>
              <a:t>Coefficient Values: </a:t>
            </a:r>
            <a:r>
              <a:rPr lang="en-AU" dirty="0">
                <a:solidFill>
                  <a:schemeClr val="dk1"/>
                </a:solidFill>
              </a:rPr>
              <a:t>These are the top three variables </a:t>
            </a:r>
            <a:r>
              <a:rPr lang="en-AU" dirty="0" smtClean="0">
                <a:solidFill>
                  <a:schemeClr val="dk1"/>
                </a:solidFill>
              </a:rPr>
              <a:t>affecting Pump</a:t>
            </a:r>
            <a:endParaRPr dirty="0">
              <a:solidFill>
                <a:schemeClr val="dk1"/>
              </a:solidFill>
            </a:endParaRPr>
          </a:p>
        </p:txBody>
      </p:sp>
      <p:sp>
        <p:nvSpPr>
          <p:cNvPr id="74" name="Google Shape;74;p2"/>
          <p:cNvSpPr/>
          <p:nvPr/>
        </p:nvSpPr>
        <p:spPr>
          <a:xfrm>
            <a:off x="5499230" y="1355536"/>
            <a:ext cx="3338111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75;p2"/>
          <p:cNvSpPr/>
          <p:nvPr/>
        </p:nvSpPr>
        <p:spPr>
          <a:xfrm rot="5400000">
            <a:off x="6107051" y="3295611"/>
            <a:ext cx="2238879" cy="3125336"/>
          </a:xfrm>
          <a:custGeom>
            <a:avLst/>
            <a:gdLst/>
            <a:ahLst/>
            <a:cxnLst/>
            <a:rect l="l" t="t" r="r" b="b"/>
            <a:pathLst>
              <a:path w="1294" h="1240" extrusionOk="0">
                <a:moveTo>
                  <a:pt x="0" y="0"/>
                </a:moveTo>
                <a:lnTo>
                  <a:pt x="1071" y="0"/>
                </a:lnTo>
                <a:lnTo>
                  <a:pt x="1294" y="621"/>
                </a:lnTo>
                <a:lnTo>
                  <a:pt x="1071" y="1240"/>
                </a:lnTo>
                <a:lnTo>
                  <a:pt x="0" y="1240"/>
                </a:lnTo>
                <a:lnTo>
                  <a:pt x="0" y="6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6650" tIns="86650" rIns="86650" bIns="8665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7" b="0" u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76;p2"/>
          <p:cNvSpPr/>
          <p:nvPr/>
        </p:nvSpPr>
        <p:spPr>
          <a:xfrm>
            <a:off x="6752052" y="4245070"/>
            <a:ext cx="935986" cy="4114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76725" tIns="38350" rIns="76725" bIns="383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050" b="1" u="none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op 3 </a:t>
            </a:r>
            <a:r>
              <a:rPr lang="en-AU" sz="1050" b="1" u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en-AU" sz="1050" b="1" u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AU" sz="1050" b="1" u="none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Variables</a:t>
            </a:r>
            <a:endParaRPr sz="2800" dirty="0"/>
          </a:p>
        </p:txBody>
      </p:sp>
      <p:sp>
        <p:nvSpPr>
          <p:cNvPr id="77" name="Google Shape;77;p2"/>
          <p:cNvSpPr/>
          <p:nvPr/>
        </p:nvSpPr>
        <p:spPr>
          <a:xfrm>
            <a:off x="5730593" y="4847928"/>
            <a:ext cx="955635" cy="3451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6725" tIns="38350" rIns="76725" bIns="383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050" b="1" u="none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PM</a:t>
            </a:r>
            <a:endParaRPr dirty="0"/>
          </a:p>
        </p:txBody>
      </p:sp>
      <p:sp>
        <p:nvSpPr>
          <p:cNvPr id="78" name="Google Shape;78;p2"/>
          <p:cNvSpPr/>
          <p:nvPr/>
        </p:nvSpPr>
        <p:spPr>
          <a:xfrm>
            <a:off x="6740861" y="4847928"/>
            <a:ext cx="955635" cy="3451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6725" tIns="38350" rIns="76725" bIns="383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050" b="1" u="none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low Meter 2</a:t>
            </a:r>
            <a:endParaRPr sz="2800" dirty="0"/>
          </a:p>
        </p:txBody>
      </p:sp>
      <p:sp>
        <p:nvSpPr>
          <p:cNvPr id="79" name="Google Shape;79;p2"/>
          <p:cNvSpPr/>
          <p:nvPr/>
        </p:nvSpPr>
        <p:spPr>
          <a:xfrm>
            <a:off x="7751128" y="4847928"/>
            <a:ext cx="955635" cy="3451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6725" tIns="38350" rIns="76725" bIns="383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050" b="1" u="none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x Daily Torque</a:t>
            </a:r>
            <a:endParaRPr sz="2800" dirty="0"/>
          </a:p>
        </p:txBody>
      </p:sp>
      <p:cxnSp>
        <p:nvCxnSpPr>
          <p:cNvPr id="80" name="Google Shape;80;p2"/>
          <p:cNvCxnSpPr>
            <a:stCxn id="76" idx="2"/>
            <a:endCxn id="77" idx="0"/>
          </p:cNvCxnSpPr>
          <p:nvPr/>
        </p:nvCxnSpPr>
        <p:spPr>
          <a:xfrm rot="5400000">
            <a:off x="6618510" y="4246354"/>
            <a:ext cx="191411" cy="1011658"/>
          </a:xfrm>
          <a:prstGeom prst="bentConnector3">
            <a:avLst>
              <a:gd name="adj1" fmla="val 50010"/>
            </a:avLst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1" name="Google Shape;81;p2"/>
          <p:cNvCxnSpPr>
            <a:stCxn id="76" idx="2"/>
            <a:endCxn id="79" idx="0"/>
          </p:cNvCxnSpPr>
          <p:nvPr/>
        </p:nvCxnSpPr>
        <p:spPr>
          <a:xfrm rot="16200000" flipH="1">
            <a:off x="7628903" y="4247619"/>
            <a:ext cx="191411" cy="1009128"/>
          </a:xfrm>
          <a:prstGeom prst="bentConnector3">
            <a:avLst>
              <a:gd name="adj1" fmla="val 50009"/>
            </a:avLst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2" name="Google Shape;82;p2"/>
          <p:cNvCxnSpPr>
            <a:stCxn id="76" idx="2"/>
            <a:endCxn id="78" idx="0"/>
          </p:cNvCxnSpPr>
          <p:nvPr/>
        </p:nvCxnSpPr>
        <p:spPr>
          <a:xfrm flipH="1">
            <a:off x="7218679" y="4656477"/>
            <a:ext cx="1366" cy="191451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1258406"/>
              </p:ext>
            </p:extLst>
          </p:nvPr>
        </p:nvGraphicFramePr>
        <p:xfrm>
          <a:off x="124692" y="941697"/>
          <a:ext cx="5320765" cy="5736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4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 smtClean="0"/>
              <a:t>Problem Statement and Solution Approach</a:t>
            </a:r>
            <a:endParaRPr dirty="0"/>
          </a:p>
        </p:txBody>
      </p:sp>
      <p:cxnSp>
        <p:nvCxnSpPr>
          <p:cNvPr id="89" name="Google Shape;89;p4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" name="Google Shape;90;p4"/>
          <p:cNvSpPr/>
          <p:nvPr/>
        </p:nvSpPr>
        <p:spPr>
          <a:xfrm>
            <a:off x="941696" y="1686224"/>
            <a:ext cx="7055892" cy="1452762"/>
          </a:xfrm>
          <a:prstGeom prst="rect">
            <a:avLst/>
          </a:prstGeom>
          <a:solidFill>
            <a:srgbClr val="F2F2F2">
              <a:alpha val="84705"/>
            </a:srgbClr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/>
            <a:r>
              <a:rPr lang="en-US" b="1" dirty="0"/>
              <a:t>Southern Water Corp </a:t>
            </a:r>
            <a:r>
              <a:rPr lang="en-US" b="1" dirty="0" smtClean="0"/>
              <a:t>is running </a:t>
            </a:r>
            <a:r>
              <a:rPr lang="en-US" b="1" dirty="0"/>
              <a:t>his plants harder to meet increasing water demand. One of the chief scientists, noted particular signatures around a number of pumps that had provided abnormally high-pressure readings, indicative of system failure. To control operational costs and prevent untimely asset failure, management wants to do a statistical analysis of previous Desalination Pump Failure Data to understand what variables may drive an asset failure.</a:t>
            </a:r>
          </a:p>
        </p:txBody>
      </p:sp>
      <p:sp>
        <p:nvSpPr>
          <p:cNvPr id="91" name="Google Shape;91;p4"/>
          <p:cNvSpPr/>
          <p:nvPr/>
        </p:nvSpPr>
        <p:spPr>
          <a:xfrm>
            <a:off x="431217" y="4290069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" name="Google Shape;92;p4"/>
          <p:cNvCxnSpPr/>
          <p:nvPr/>
        </p:nvCxnSpPr>
        <p:spPr>
          <a:xfrm flipH="1">
            <a:off x="3385133" y="3772869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3" name="Google Shape;93;p4"/>
          <p:cNvSpPr/>
          <p:nvPr/>
        </p:nvSpPr>
        <p:spPr>
          <a:xfrm>
            <a:off x="4939604" y="4288917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4" name="Google Shape;94;p4"/>
          <p:cNvCxnSpPr/>
          <p:nvPr/>
        </p:nvCxnSpPr>
        <p:spPr>
          <a:xfrm flipH="1">
            <a:off x="5465485" y="3771717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5" name="Google Shape;95;p4"/>
          <p:cNvCxnSpPr/>
          <p:nvPr/>
        </p:nvCxnSpPr>
        <p:spPr>
          <a:xfrm>
            <a:off x="3385133" y="3771717"/>
            <a:ext cx="2035166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6" name="Google Shape;96;p4"/>
          <p:cNvCxnSpPr>
            <a:stCxn id="90" idx="2"/>
          </p:cNvCxnSpPr>
          <p:nvPr/>
        </p:nvCxnSpPr>
        <p:spPr>
          <a:xfrm>
            <a:off x="4469642" y="3138986"/>
            <a:ext cx="9780" cy="605456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7" name="Google Shape;97;p4"/>
          <p:cNvSpPr txBox="1"/>
          <p:nvPr/>
        </p:nvSpPr>
        <p:spPr>
          <a:xfrm>
            <a:off x="826264" y="4861005"/>
            <a:ext cx="3084723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ATISTICAL APPROACH #</a:t>
            </a:r>
            <a:r>
              <a:rPr lang="en-AU" sz="1600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 smtClean="0">
                <a:solidFill>
                  <a:schemeClr val="dk1"/>
                </a:solidFill>
              </a:rPr>
              <a:t>Descriptive Analysis</a:t>
            </a:r>
            <a:endParaRPr dirty="0"/>
          </a:p>
        </p:txBody>
      </p:sp>
      <p:sp>
        <p:nvSpPr>
          <p:cNvPr id="98" name="Google Shape;98;p4"/>
          <p:cNvSpPr txBox="1"/>
          <p:nvPr/>
        </p:nvSpPr>
        <p:spPr>
          <a:xfrm>
            <a:off x="5192551" y="4803813"/>
            <a:ext cx="3084723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ATISTICAL APPROACH #</a:t>
            </a:r>
            <a:r>
              <a:rPr lang="en-AU" sz="1600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 smtClean="0">
                <a:solidFill>
                  <a:schemeClr val="dk1"/>
                </a:solidFill>
              </a:rPr>
              <a:t>Inferential Analysis</a:t>
            </a:r>
            <a:endParaRPr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400" dirty="0" smtClean="0"/>
              <a:t>Pump Failure with “No” flag has lot of outliers specially for Torque, Flow Meter2, RPM. Mean of flow_meter1 for Pre failure is 5 and for Post failure is 110.Table at bottom shows Mean, Median and Mode for Pre-failure and Post-failure values of all variables which can derive pump failure.</a:t>
            </a:r>
            <a:endParaRPr lang="en-US" sz="1400"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163773" y="5113421"/>
            <a:ext cx="8679976" cy="1269123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955" y="1032229"/>
            <a:ext cx="4267567" cy="35878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5649" y="1036991"/>
            <a:ext cx="4133482" cy="35711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365" y="4640933"/>
            <a:ext cx="8256896" cy="457200"/>
          </a:xfrm>
          <a:prstGeom prst="rect">
            <a:avLst/>
          </a:prstGeom>
        </p:spPr>
      </p:pic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778175"/>
              </p:ext>
            </p:extLst>
          </p:nvPr>
        </p:nvGraphicFramePr>
        <p:xfrm>
          <a:off x="152401" y="5105400"/>
          <a:ext cx="8623300" cy="12699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02640">
                  <a:extLst>
                    <a:ext uri="{9D8B030D-6E8A-4147-A177-3AD203B41FA5}">
                      <a16:colId xmlns:a16="http://schemas.microsoft.com/office/drawing/2014/main" val="4267160754"/>
                    </a:ext>
                  </a:extLst>
                </a:gridCol>
                <a:gridCol w="1019863">
                  <a:extLst>
                    <a:ext uri="{9D8B030D-6E8A-4147-A177-3AD203B41FA5}">
                      <a16:colId xmlns:a16="http://schemas.microsoft.com/office/drawing/2014/main" val="1902281858"/>
                    </a:ext>
                  </a:extLst>
                </a:gridCol>
                <a:gridCol w="1019863">
                  <a:extLst>
                    <a:ext uri="{9D8B030D-6E8A-4147-A177-3AD203B41FA5}">
                      <a16:colId xmlns:a16="http://schemas.microsoft.com/office/drawing/2014/main" val="93623644"/>
                    </a:ext>
                  </a:extLst>
                </a:gridCol>
                <a:gridCol w="789179">
                  <a:extLst>
                    <a:ext uri="{9D8B030D-6E8A-4147-A177-3AD203B41FA5}">
                      <a16:colId xmlns:a16="http://schemas.microsoft.com/office/drawing/2014/main" val="2573960831"/>
                    </a:ext>
                  </a:extLst>
                </a:gridCol>
                <a:gridCol w="1007722">
                  <a:extLst>
                    <a:ext uri="{9D8B030D-6E8A-4147-A177-3AD203B41FA5}">
                      <a16:colId xmlns:a16="http://schemas.microsoft.com/office/drawing/2014/main" val="2466099924"/>
                    </a:ext>
                  </a:extLst>
                </a:gridCol>
                <a:gridCol w="1411416">
                  <a:extLst>
                    <a:ext uri="{9D8B030D-6E8A-4147-A177-3AD203B41FA5}">
                      <a16:colId xmlns:a16="http://schemas.microsoft.com/office/drawing/2014/main" val="1785285373"/>
                    </a:ext>
                  </a:extLst>
                </a:gridCol>
                <a:gridCol w="1032004">
                  <a:extLst>
                    <a:ext uri="{9D8B030D-6E8A-4147-A177-3AD203B41FA5}">
                      <a16:colId xmlns:a16="http://schemas.microsoft.com/office/drawing/2014/main" val="3264162143"/>
                    </a:ext>
                  </a:extLst>
                </a:gridCol>
                <a:gridCol w="740613">
                  <a:extLst>
                    <a:ext uri="{9D8B030D-6E8A-4147-A177-3AD203B41FA5}">
                      <a16:colId xmlns:a16="http://schemas.microsoft.com/office/drawing/2014/main" val="1431205877"/>
                    </a:ext>
                  </a:extLst>
                </a:gridCol>
              </a:tblGrid>
              <a:tr h="2838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effectLst/>
                        </a:rPr>
                        <a:t>FLOW_METER_1</a:t>
                      </a:r>
                      <a:endParaRPr lang="en-US" sz="9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effectLst/>
                        </a:rPr>
                        <a:t>FLOW_METER_2</a:t>
                      </a:r>
                      <a:endParaRPr lang="en-US" sz="9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effectLst/>
                        </a:rPr>
                        <a:t>PUMP_RPM</a:t>
                      </a:r>
                      <a:endParaRPr lang="en-US" sz="9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effectLst/>
                        </a:rPr>
                        <a:t>PUMP_TORQUE</a:t>
                      </a:r>
                      <a:endParaRPr lang="en-US" sz="9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effectLst/>
                        </a:rPr>
                        <a:t>DAILY_PUMP_TORQUE</a:t>
                      </a:r>
                      <a:endParaRPr lang="en-US" sz="9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effectLst/>
                        </a:rPr>
                        <a:t>TUBE_PRESSURE</a:t>
                      </a:r>
                      <a:endParaRPr lang="en-US" sz="9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effectLst/>
                        </a:rPr>
                        <a:t>EFFICIENCY</a:t>
                      </a:r>
                      <a:endParaRPr lang="en-US" sz="9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5697751"/>
                  </a:ext>
                </a:extLst>
              </a:tr>
              <a:tr h="16436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>
                          <a:effectLst/>
                        </a:rPr>
                        <a:t>Pump Failure Yes - Mean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109.79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87.64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96.45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 dirty="0">
                          <a:effectLst/>
                        </a:rPr>
                        <a:t>619.69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952.51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381.40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0.86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823111"/>
                  </a:ext>
                </a:extLst>
              </a:tr>
              <a:tr h="16436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>
                          <a:effectLst/>
                        </a:rPr>
                        <a:t>Pump Failure No - Mean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4.97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4.39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5.77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33.65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422.43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380.69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0.64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0381960"/>
                  </a:ext>
                </a:extLst>
              </a:tr>
              <a:tr h="16436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>
                          <a:effectLst/>
                        </a:rPr>
                        <a:t>Pump Failure Yes - Median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109.95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37.88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99.00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629.37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949.39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381.35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0.86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2344974"/>
                  </a:ext>
                </a:extLst>
              </a:tr>
              <a:tr h="16436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>
                          <a:effectLst/>
                        </a:rPr>
                        <a:t>Pump Failure No - Median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0.31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-0.40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-0.02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-1.90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285.49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381.32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0.18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6924372"/>
                  </a:ext>
                </a:extLst>
              </a:tr>
              <a:tr h="16436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>
                          <a:effectLst/>
                        </a:rPr>
                        <a:t>Pump Failure Yes - Mod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N/A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N/A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99.00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N/A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N/A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N/A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N/A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4202970"/>
                  </a:ext>
                </a:extLst>
              </a:tr>
              <a:tr h="16436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>
                          <a:effectLst/>
                        </a:rPr>
                        <a:t>Pump Failure No - Mod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0.00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-9.01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 dirty="0">
                          <a:effectLst/>
                        </a:rPr>
                        <a:t>0.00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0.00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285.49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</a:rPr>
                        <a:t>382.69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 dirty="0">
                          <a:effectLst/>
                        </a:rPr>
                        <a:t>0.00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44" marR="4544" marT="45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127218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800" dirty="0"/>
              <a:t>Correlation Matrix for Rolling Standard </a:t>
            </a:r>
            <a:r>
              <a:rPr lang="en-US" sz="1800" dirty="0" smtClean="0"/>
              <a:t>Deviation : Post Failure correlation matrix shows more correlations as negative in comparison to Pre Failure 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6" name="Google Shape;116;p6"/>
          <p:cNvSpPr/>
          <p:nvPr/>
        </p:nvSpPr>
        <p:spPr>
          <a:xfrm>
            <a:off x="148512" y="4499810"/>
            <a:ext cx="8812926" cy="1888957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" name="Google Shape;119;p6"/>
          <p:cNvSpPr txBox="1"/>
          <p:nvPr/>
        </p:nvSpPr>
        <p:spPr>
          <a:xfrm>
            <a:off x="150552" y="4510840"/>
            <a:ext cx="8608437" cy="1938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endParaRPr lang="en-US" sz="1200" dirty="0" smtClean="0">
              <a:solidFill>
                <a:schemeClr val="dk1"/>
              </a:solidFill>
              <a:sym typeface="Arial"/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US" sz="1200" dirty="0" smtClean="0">
                <a:solidFill>
                  <a:schemeClr val="dk1"/>
                </a:solidFill>
                <a:sym typeface="Arial"/>
              </a:rPr>
              <a:t>Positive Correlations: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200" dirty="0" smtClean="0">
                <a:solidFill>
                  <a:schemeClr val="dk1"/>
                </a:solidFill>
                <a:sym typeface="Arial"/>
              </a:rPr>
              <a:t>For Pos</a:t>
            </a:r>
            <a:r>
              <a:rPr lang="en-US" sz="1200" dirty="0" smtClean="0">
                <a:solidFill>
                  <a:schemeClr val="dk1"/>
                </a:solidFill>
              </a:rPr>
              <a:t>t Failure: There is only one strong correlation between “Flow Meter 1 and Pump RPM”.</a:t>
            </a:r>
            <a:endParaRPr sz="1200" dirty="0"/>
          </a:p>
          <a:p>
            <a:pPr marL="285750" lvl="0" indent="-285750"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200" dirty="0">
                <a:solidFill>
                  <a:schemeClr val="dk1"/>
                </a:solidFill>
              </a:rPr>
              <a:t>For </a:t>
            </a:r>
            <a:r>
              <a:rPr lang="en-US" sz="1200" dirty="0" smtClean="0">
                <a:solidFill>
                  <a:schemeClr val="dk1"/>
                </a:solidFill>
              </a:rPr>
              <a:t>Pre Failure: </a:t>
            </a:r>
            <a:r>
              <a:rPr lang="en-US" sz="1200" dirty="0">
                <a:solidFill>
                  <a:schemeClr val="dk1"/>
                </a:solidFill>
              </a:rPr>
              <a:t>There </a:t>
            </a:r>
            <a:r>
              <a:rPr lang="en-US" sz="1200" dirty="0" smtClean="0">
                <a:solidFill>
                  <a:schemeClr val="dk1"/>
                </a:solidFill>
              </a:rPr>
              <a:t>are majorly positive correlation out of which “Flow Meter 1 and Pump RPM” and </a:t>
            </a:r>
            <a:r>
              <a:rPr lang="en-US" sz="1200" dirty="0">
                <a:solidFill>
                  <a:schemeClr val="dk1"/>
                </a:solidFill>
              </a:rPr>
              <a:t>“Flow Meter 1 and Pump </a:t>
            </a:r>
            <a:r>
              <a:rPr lang="en-US" sz="1200" dirty="0" smtClean="0">
                <a:solidFill>
                  <a:schemeClr val="dk1"/>
                </a:solidFill>
              </a:rPr>
              <a:t>Torque” are having very strong positive correlation.</a:t>
            </a:r>
            <a:endParaRPr lang="en-US" sz="1200" dirty="0">
              <a:solidFill>
                <a:schemeClr val="dk1"/>
              </a:solidFill>
            </a:endParaRPr>
          </a:p>
          <a:p>
            <a:pPr lvl="0">
              <a:buClr>
                <a:schemeClr val="dk1"/>
              </a:buClr>
              <a:buSzPts val="1400"/>
            </a:pPr>
            <a:r>
              <a:rPr lang="en-US" sz="1200" dirty="0" smtClean="0">
                <a:solidFill>
                  <a:schemeClr val="dk1"/>
                </a:solidFill>
              </a:rPr>
              <a:t>Negative Correlations:</a:t>
            </a:r>
          </a:p>
          <a:p>
            <a:pPr marL="285750" lvl="0" indent="-285750"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dk1"/>
                </a:solidFill>
              </a:rPr>
              <a:t>For Post Failure: We observer three strong negative correlations: “Flow </a:t>
            </a:r>
            <a:r>
              <a:rPr lang="en-US" sz="1200" dirty="0">
                <a:solidFill>
                  <a:schemeClr val="dk1"/>
                </a:solidFill>
              </a:rPr>
              <a:t>Meter 1 and </a:t>
            </a:r>
            <a:r>
              <a:rPr lang="en-US" sz="1200" dirty="0" smtClean="0">
                <a:solidFill>
                  <a:schemeClr val="dk1"/>
                </a:solidFill>
              </a:rPr>
              <a:t>Max Daily Torque”, </a:t>
            </a:r>
            <a:r>
              <a:rPr lang="en-US" sz="1200" dirty="0">
                <a:solidFill>
                  <a:schemeClr val="dk1"/>
                </a:solidFill>
              </a:rPr>
              <a:t>“Flow Meter </a:t>
            </a:r>
            <a:r>
              <a:rPr lang="en-US" sz="1200" dirty="0" smtClean="0">
                <a:solidFill>
                  <a:schemeClr val="dk1"/>
                </a:solidFill>
              </a:rPr>
              <a:t>2 and Torque” and “RPM and </a:t>
            </a:r>
            <a:r>
              <a:rPr lang="en-US" sz="1200" dirty="0">
                <a:solidFill>
                  <a:schemeClr val="dk1"/>
                </a:solidFill>
              </a:rPr>
              <a:t>Max Daily Torque</a:t>
            </a:r>
            <a:r>
              <a:rPr lang="en-US" sz="1200" dirty="0" smtClean="0">
                <a:solidFill>
                  <a:schemeClr val="dk1"/>
                </a:solidFill>
              </a:rPr>
              <a:t>”</a:t>
            </a:r>
          </a:p>
          <a:p>
            <a:pPr marL="285750" indent="-285750"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dk1"/>
                </a:solidFill>
              </a:rPr>
              <a:t>For </a:t>
            </a:r>
            <a:r>
              <a:rPr lang="en-US" sz="1200" dirty="0">
                <a:solidFill>
                  <a:schemeClr val="dk1"/>
                </a:solidFill>
              </a:rPr>
              <a:t>Post Failure: We observer </a:t>
            </a:r>
            <a:r>
              <a:rPr lang="en-US" sz="1200" dirty="0" smtClean="0">
                <a:solidFill>
                  <a:schemeClr val="dk1"/>
                </a:solidFill>
              </a:rPr>
              <a:t>only two very weak negative </a:t>
            </a:r>
            <a:r>
              <a:rPr lang="en-US" sz="1200" dirty="0">
                <a:solidFill>
                  <a:schemeClr val="dk1"/>
                </a:solidFill>
              </a:rPr>
              <a:t>correlations: </a:t>
            </a:r>
            <a:r>
              <a:rPr lang="en-US" sz="1200" dirty="0" smtClean="0">
                <a:solidFill>
                  <a:schemeClr val="dk1"/>
                </a:solidFill>
              </a:rPr>
              <a:t>“Torque and Max Daily Torque” </a:t>
            </a:r>
            <a:r>
              <a:rPr lang="en-US" sz="1200" dirty="0">
                <a:solidFill>
                  <a:schemeClr val="dk1"/>
                </a:solidFill>
              </a:rPr>
              <a:t>and “RPM and Max Daily Torque</a:t>
            </a:r>
            <a:r>
              <a:rPr lang="en-US" sz="1200" dirty="0" smtClean="0">
                <a:solidFill>
                  <a:schemeClr val="dk1"/>
                </a:solidFill>
              </a:rPr>
              <a:t>”</a:t>
            </a:r>
            <a:endParaRPr lang="en-US" sz="1200" dirty="0">
              <a:solidFill>
                <a:schemeClr val="dk1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5386286"/>
              </p:ext>
            </p:extLst>
          </p:nvPr>
        </p:nvGraphicFramePr>
        <p:xfrm>
          <a:off x="129841" y="960652"/>
          <a:ext cx="8701338" cy="1674263"/>
        </p:xfrm>
        <a:graphic>
          <a:graphicData uri="http://schemas.openxmlformats.org/drawingml/2006/table">
            <a:tbl>
              <a:tblPr/>
              <a:tblGrid>
                <a:gridCol w="1622087">
                  <a:extLst>
                    <a:ext uri="{9D8B030D-6E8A-4147-A177-3AD203B41FA5}">
                      <a16:colId xmlns:a16="http://schemas.microsoft.com/office/drawing/2014/main" val="688925440"/>
                    </a:ext>
                  </a:extLst>
                </a:gridCol>
                <a:gridCol w="973251">
                  <a:extLst>
                    <a:ext uri="{9D8B030D-6E8A-4147-A177-3AD203B41FA5}">
                      <a16:colId xmlns:a16="http://schemas.microsoft.com/office/drawing/2014/main" val="127977288"/>
                    </a:ext>
                  </a:extLst>
                </a:gridCol>
                <a:gridCol w="973251">
                  <a:extLst>
                    <a:ext uri="{9D8B030D-6E8A-4147-A177-3AD203B41FA5}">
                      <a16:colId xmlns:a16="http://schemas.microsoft.com/office/drawing/2014/main" val="4104065317"/>
                    </a:ext>
                  </a:extLst>
                </a:gridCol>
                <a:gridCol w="1529397">
                  <a:extLst>
                    <a:ext uri="{9D8B030D-6E8A-4147-A177-3AD203B41FA5}">
                      <a16:colId xmlns:a16="http://schemas.microsoft.com/office/drawing/2014/main" val="4223469450"/>
                    </a:ext>
                  </a:extLst>
                </a:gridCol>
                <a:gridCol w="961666">
                  <a:extLst>
                    <a:ext uri="{9D8B030D-6E8A-4147-A177-3AD203B41FA5}">
                      <a16:colId xmlns:a16="http://schemas.microsoft.com/office/drawing/2014/main" val="2172850756"/>
                    </a:ext>
                  </a:extLst>
                </a:gridCol>
                <a:gridCol w="1656847">
                  <a:extLst>
                    <a:ext uri="{9D8B030D-6E8A-4147-A177-3AD203B41FA5}">
                      <a16:colId xmlns:a16="http://schemas.microsoft.com/office/drawing/2014/main" val="734405647"/>
                    </a:ext>
                  </a:extLst>
                </a:gridCol>
                <a:gridCol w="984839">
                  <a:extLst>
                    <a:ext uri="{9D8B030D-6E8A-4147-A177-3AD203B41FA5}">
                      <a16:colId xmlns:a16="http://schemas.microsoft.com/office/drawing/2014/main" val="194120431"/>
                    </a:ext>
                  </a:extLst>
                </a:gridCol>
              </a:tblGrid>
              <a:tr h="2079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 dirty="0">
                          <a:solidFill>
                            <a:schemeClr val="accent3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ost Failure </a:t>
                      </a:r>
                      <a:r>
                        <a:rPr lang="en-US" sz="1100" b="1" i="1" u="none" strike="noStrike" dirty="0" smtClean="0">
                          <a:solidFill>
                            <a:schemeClr val="accent3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Correlation</a:t>
                      </a:r>
                      <a:endParaRPr lang="en-US" sz="1100" b="1" i="1" u="none" strike="noStrike" dirty="0">
                        <a:solidFill>
                          <a:schemeClr val="accent3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OW_METER_1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OW_METER_2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TATIONAL_PUMP_RPM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_TORQUE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IMUM_PUMP_TORQUE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BE_PRESSURE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6221660"/>
                  </a:ext>
                </a:extLst>
              </a:tr>
              <a:tr h="207983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OW_METER_1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6205835"/>
                  </a:ext>
                </a:extLst>
              </a:tr>
              <a:tr h="207983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OW_METER_2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7383251"/>
                  </a:ext>
                </a:extLst>
              </a:tr>
              <a:tr h="207983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TATIONAL_PUMP_RPM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9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5C4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7533441"/>
                  </a:ext>
                </a:extLst>
              </a:tr>
              <a:tr h="207983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_TORQUE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7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8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2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1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9824432"/>
                  </a:ext>
                </a:extLst>
              </a:tr>
              <a:tr h="207983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IMUM_PUMP_TORQUE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4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89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0137875"/>
                  </a:ext>
                </a:extLst>
              </a:tr>
              <a:tr h="207983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BE_PRESSURE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3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7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65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901772"/>
                  </a:ext>
                </a:extLst>
              </a:tr>
              <a:tr h="218382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IMATED_EFFICIENCY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3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6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C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1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0812856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6152408"/>
              </p:ext>
            </p:extLst>
          </p:nvPr>
        </p:nvGraphicFramePr>
        <p:xfrm>
          <a:off x="129840" y="2681169"/>
          <a:ext cx="8725402" cy="1782543"/>
        </p:xfrm>
        <a:graphic>
          <a:graphicData uri="http://schemas.openxmlformats.org/drawingml/2006/table">
            <a:tbl>
              <a:tblPr/>
              <a:tblGrid>
                <a:gridCol w="1626573">
                  <a:extLst>
                    <a:ext uri="{9D8B030D-6E8A-4147-A177-3AD203B41FA5}">
                      <a16:colId xmlns:a16="http://schemas.microsoft.com/office/drawing/2014/main" val="1754099915"/>
                    </a:ext>
                  </a:extLst>
                </a:gridCol>
                <a:gridCol w="975943">
                  <a:extLst>
                    <a:ext uri="{9D8B030D-6E8A-4147-A177-3AD203B41FA5}">
                      <a16:colId xmlns:a16="http://schemas.microsoft.com/office/drawing/2014/main" val="3185182335"/>
                    </a:ext>
                  </a:extLst>
                </a:gridCol>
                <a:gridCol w="975943">
                  <a:extLst>
                    <a:ext uri="{9D8B030D-6E8A-4147-A177-3AD203B41FA5}">
                      <a16:colId xmlns:a16="http://schemas.microsoft.com/office/drawing/2014/main" val="4211859762"/>
                    </a:ext>
                  </a:extLst>
                </a:gridCol>
                <a:gridCol w="1533626">
                  <a:extLst>
                    <a:ext uri="{9D8B030D-6E8A-4147-A177-3AD203B41FA5}">
                      <a16:colId xmlns:a16="http://schemas.microsoft.com/office/drawing/2014/main" val="1088961484"/>
                    </a:ext>
                  </a:extLst>
                </a:gridCol>
                <a:gridCol w="964326">
                  <a:extLst>
                    <a:ext uri="{9D8B030D-6E8A-4147-A177-3AD203B41FA5}">
                      <a16:colId xmlns:a16="http://schemas.microsoft.com/office/drawing/2014/main" val="3135182760"/>
                    </a:ext>
                  </a:extLst>
                </a:gridCol>
                <a:gridCol w="1661429">
                  <a:extLst>
                    <a:ext uri="{9D8B030D-6E8A-4147-A177-3AD203B41FA5}">
                      <a16:colId xmlns:a16="http://schemas.microsoft.com/office/drawing/2014/main" val="3698105988"/>
                    </a:ext>
                  </a:extLst>
                </a:gridCol>
                <a:gridCol w="987562">
                  <a:extLst>
                    <a:ext uri="{9D8B030D-6E8A-4147-A177-3AD203B41FA5}">
                      <a16:colId xmlns:a16="http://schemas.microsoft.com/office/drawing/2014/main" val="1359139965"/>
                    </a:ext>
                  </a:extLst>
                </a:gridCol>
              </a:tblGrid>
              <a:tr h="2214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 dirty="0">
                          <a:solidFill>
                            <a:schemeClr val="accent3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re Failure </a:t>
                      </a:r>
                      <a:r>
                        <a:rPr lang="en-US" sz="1100" b="1" i="1" u="none" strike="noStrike" dirty="0" smtClean="0">
                          <a:solidFill>
                            <a:schemeClr val="accent3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Correlation</a:t>
                      </a:r>
                      <a:endParaRPr lang="en-US" sz="1100" b="1" i="1" u="none" strike="noStrike" dirty="0">
                        <a:solidFill>
                          <a:schemeClr val="accent3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OW_METER_1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OW_METER_2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TATIONAL_PUMP_RPM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_TORQUE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IMUM_PUMP_TORQUE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BE_PRESSURE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6671546"/>
                  </a:ext>
                </a:extLst>
              </a:tr>
              <a:tr h="2214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OW_METER_1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7341613"/>
                  </a:ext>
                </a:extLst>
              </a:tr>
              <a:tr h="2214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OW_METER_2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7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3213408"/>
                  </a:ext>
                </a:extLst>
              </a:tr>
              <a:tr h="2214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TATIONAL_PUMP_RPM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1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1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0523173"/>
                  </a:ext>
                </a:extLst>
              </a:tr>
              <a:tr h="2214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_TORQUE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6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1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9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1015459"/>
                  </a:ext>
                </a:extLst>
              </a:tr>
              <a:tr h="2214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IMUM_PUMP_TORQUE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7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1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1534626"/>
                  </a:ext>
                </a:extLst>
              </a:tr>
              <a:tr h="221434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BE_PRESSURE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5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6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6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5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496228"/>
                  </a:ext>
                </a:extLst>
              </a:tr>
              <a:tr h="232505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IMATED_EFFICIENCY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2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2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</a:t>
                      </a:r>
                    </a:p>
                  </a:txBody>
                  <a:tcPr marL="4296" marR="4296" marT="429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710167"/>
                  </a:ext>
                </a:extLst>
              </a:tr>
            </a:tbl>
          </a:graphicData>
        </a:graphic>
      </p:graphicFrame>
      <p:sp>
        <p:nvSpPr>
          <p:cNvPr id="16" name="Google Shape;117;p6"/>
          <p:cNvSpPr txBox="1"/>
          <p:nvPr/>
        </p:nvSpPr>
        <p:spPr>
          <a:xfrm>
            <a:off x="3766464" y="4440664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338472"/>
            <a:ext cx="8618537" cy="292388"/>
          </a:xfrm>
        </p:spPr>
        <p:txBody>
          <a:bodyPr/>
          <a:lstStyle/>
          <a:p>
            <a:pPr algn="ctr"/>
            <a:r>
              <a:rPr lang="en-US" dirty="0" smtClean="0"/>
              <a:t>Summary: Top and Bottom “3”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40632" y="1203158"/>
            <a:ext cx="854242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smtClean="0"/>
          </a:p>
          <a:p>
            <a:r>
              <a:rPr lang="en-US" dirty="0" smtClean="0"/>
              <a:t>Most Important* Variables:</a:t>
            </a:r>
            <a:endParaRPr lang="en-US" dirty="0"/>
          </a:p>
          <a:p>
            <a:r>
              <a:rPr lang="en-US" dirty="0" smtClean="0"/>
              <a:t>Out of 8 variables, 3 variables: RPM, Torque and Flow Meter 2 should be closely observed, as in our analysis we found lot of variation between Pre and Post Failure Readings. </a:t>
            </a:r>
          </a:p>
          <a:p>
            <a:endParaRPr lang="en-US" dirty="0" smtClean="0"/>
          </a:p>
          <a:p>
            <a:r>
              <a:rPr lang="en-US" dirty="0" smtClean="0"/>
              <a:t>Most Insignificant* Variables:</a:t>
            </a:r>
            <a:endParaRPr lang="en-US" dirty="0"/>
          </a:p>
          <a:p>
            <a:r>
              <a:rPr lang="en-US" dirty="0"/>
              <a:t>Out of 8 variables, 3 variables: Tube Pressure, Estimated Efficiency, Ammonia Flow Rate can be neglected when we need to estimate pump failure as they have negligible correlation between them.</a:t>
            </a: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23825" y="4600575"/>
            <a:ext cx="78200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 Only in terms of Pump Failure. For other factors they must be important readings.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676649283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39</TotalTime>
  <Words>843</Words>
  <Application>Microsoft Office PowerPoint</Application>
  <PresentationFormat>Custom</PresentationFormat>
  <Paragraphs>201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Noto Sans Symbols</vt:lpstr>
      <vt:lpstr>Quattrocento Sans</vt:lpstr>
      <vt:lpstr>Synergy_CF_YNR002</vt:lpstr>
      <vt:lpstr>1_Synergy_CF_YNR002</vt:lpstr>
      <vt:lpstr>TCLayout.ActiveDocument.1</vt:lpstr>
      <vt:lpstr>Southern Water Corp – Technical Presentation</vt:lpstr>
      <vt:lpstr>Southern Water Corp management wants to control operational costs and prevent untimely asset failure which will lead to loss of revenues</vt:lpstr>
      <vt:lpstr>By the multivariate equation it is identified that Pump failure is mostly related with the RPM followed by Flow Meter 2.</vt:lpstr>
      <vt:lpstr>Problem Statement and Solution Approach</vt:lpstr>
      <vt:lpstr>Pump Failure with “No” flag has lot of outliers specially for Torque, Flow Meter2, RPM. Mean of flow_meter1 for Pre failure is 5 and for Post failure is 110.Table at bottom shows Mean, Median and Mode for Pre-failure and Post-failure values of all variables which can derive pump failure.</vt:lpstr>
      <vt:lpstr>Correlation Matrix for Rolling Standard Deviation : Post Failure correlation matrix shows more correlations as negative in comparison to Pre Failure </vt:lpstr>
      <vt:lpstr>Summary: Top and Bottom “3”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Technical Presentation</dc:title>
  <dc:creator>Chris Hui</dc:creator>
  <cp:lastModifiedBy>Bansal, Sonal (Cognizant)</cp:lastModifiedBy>
  <cp:revision>33</cp:revision>
  <dcterms:created xsi:type="dcterms:W3CDTF">2015-09-14T11:37:31Z</dcterms:created>
  <dcterms:modified xsi:type="dcterms:W3CDTF">2020-05-25T18:4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